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10.xml" ContentType="application/vnd.openxmlformats-officedocument.presentationml.tags+xml"/>
  <Override PartName="/ppt/tags/tag11.xml" ContentType="application/vnd.openxmlformats-officedocument.presentationml.tags+xml"/>
  <Override PartName="/ppt/notesSlides/notesSlide5.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8.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915" r:id="rId4"/>
  </p:sldMasterIdLst>
  <p:notesMasterIdLst>
    <p:notesMasterId r:id="rId14"/>
  </p:notesMasterIdLst>
  <p:sldIdLst>
    <p:sldId id="2145707094" r:id="rId5"/>
    <p:sldId id="2145707093" r:id="rId6"/>
    <p:sldId id="2145707107" r:id="rId7"/>
    <p:sldId id="2145707108" r:id="rId8"/>
    <p:sldId id="2145707096" r:id="rId9"/>
    <p:sldId id="2145707098" r:id="rId10"/>
    <p:sldId id="2145707101" r:id="rId11"/>
    <p:sldId id="2145707104" r:id="rId12"/>
    <p:sldId id="2145707105" r:id="rId13"/>
  </p:sldIdLst>
  <p:sldSz cx="12192000" cy="6858000"/>
  <p:notesSz cx="6805613" cy="9939338"/>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ain" id="{BE6D6636-5690-482B-8E4B-0EDDD92399A1}">
          <p14:sldIdLst>
            <p14:sldId id="2145707094"/>
            <p14:sldId id="2145707093"/>
            <p14:sldId id="2145707107"/>
            <p14:sldId id="2145707108"/>
            <p14:sldId id="2145707096"/>
            <p14:sldId id="2145707098"/>
            <p14:sldId id="2145707101"/>
            <p14:sldId id="2145707104"/>
            <p14:sldId id="2145707105"/>
          </p14:sldIdLst>
        </p14:section>
      </p14:sectionLst>
    </p:ext>
    <p:ext uri="{EFAFB233-063F-42B5-8137-9DF3F51BA10A}">
      <p15:sldGuideLst xmlns:p15="http://schemas.microsoft.com/office/powerpoint/2012/main">
        <p15:guide id="1" pos="3840" userDrawn="1">
          <p15:clr>
            <a:srgbClr val="A4A3A4"/>
          </p15:clr>
        </p15:guide>
        <p15:guide id="2" orient="horz" pos="238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0" clrIdx="0"/>
  <p:cmAuthor id="2" name="Wu, Jingjing" initials="WJ" lastIdx="2" clrIdx="1">
    <p:extLst>
      <p:ext uri="{19B8F6BF-5375-455C-9EA6-DF929625EA0E}">
        <p15:presenceInfo xmlns:p15="http://schemas.microsoft.com/office/powerpoint/2012/main" userId="S::jingjing.wu@takeda.com::068b8037-f602-4183-8693-4432c687a00f" providerId="AD"/>
      </p:ext>
    </p:extLst>
  </p:cmAuthor>
  <p:cmAuthor id="3" name="Jiang, Abi" initials="JA" lastIdx="1" clrIdx="2">
    <p:extLst>
      <p:ext uri="{19B8F6BF-5375-455C-9EA6-DF929625EA0E}">
        <p15:presenceInfo xmlns:p15="http://schemas.microsoft.com/office/powerpoint/2012/main" userId="S::xuanzhu.jiang@takeda.com::4c4697c9-796b-4a70-bf01-c40b4d7a63d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A1918"/>
    <a:srgbClr val="FDEDED"/>
    <a:srgbClr val="F9F9F9"/>
    <a:srgbClr val="FBFBFB"/>
    <a:srgbClr val="ED7C7F"/>
    <a:srgbClr val="F8D4D4"/>
    <a:srgbClr val="FCEAEA"/>
    <a:srgbClr val="FFFEE6"/>
    <a:srgbClr val="7F7F7F"/>
    <a:srgbClr val="F3A7A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044AA74-99AA-43A9-A9BB-5E5B953524B8}" v="25" dt="2022-07-14T02:35:33.19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度样式 2 - 强调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104" d="100"/>
          <a:sy n="104" d="100"/>
        </p:scale>
        <p:origin x="756" y="72"/>
      </p:cViewPr>
      <p:guideLst>
        <p:guide pos="3840"/>
        <p:guide orient="horz" pos="2387"/>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6/11/relationships/changesInfo" Target="changesInfos/changesInfo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iang, Abi" userId="4c4697c9-796b-4a70-bf01-c40b4d7a63d9" providerId="ADAL" clId="{C044AA74-99AA-43A9-A9BB-5E5B953524B8}"/>
    <pc:docChg chg="undo custSel addSld delSld modSld modSection">
      <pc:chgData name="Jiang, Abi" userId="4c4697c9-796b-4a70-bf01-c40b4d7a63d9" providerId="ADAL" clId="{C044AA74-99AA-43A9-A9BB-5E5B953524B8}" dt="2022-07-14T02:35:33.191" v="369"/>
      <pc:docMkLst>
        <pc:docMk/>
      </pc:docMkLst>
      <pc:sldChg chg="addSp delSp modSp mod">
        <pc:chgData name="Jiang, Abi" userId="4c4697c9-796b-4a70-bf01-c40b4d7a63d9" providerId="ADAL" clId="{C044AA74-99AA-43A9-A9BB-5E5B953524B8}" dt="2022-07-11T13:29:48.010" v="119" actId="20577"/>
        <pc:sldMkLst>
          <pc:docMk/>
          <pc:sldMk cId="154888229" sldId="2145707093"/>
        </pc:sldMkLst>
        <pc:spChg chg="mod">
          <ac:chgData name="Jiang, Abi" userId="4c4697c9-796b-4a70-bf01-c40b4d7a63d9" providerId="ADAL" clId="{C044AA74-99AA-43A9-A9BB-5E5B953524B8}" dt="2022-07-11T13:29:18.110" v="53" actId="20577"/>
          <ac:spMkLst>
            <pc:docMk/>
            <pc:sldMk cId="154888229" sldId="2145707093"/>
            <ac:spMk id="7" creationId="{E5B49FAA-B59E-43F7-87A7-F2E7CD5F1AAD}"/>
          </ac:spMkLst>
        </pc:spChg>
        <pc:spChg chg="mod">
          <ac:chgData name="Jiang, Abi" userId="4c4697c9-796b-4a70-bf01-c40b4d7a63d9" providerId="ADAL" clId="{C044AA74-99AA-43A9-A9BB-5E5B953524B8}" dt="2022-07-11T13:29:22.794" v="71" actId="20577"/>
          <ac:spMkLst>
            <pc:docMk/>
            <pc:sldMk cId="154888229" sldId="2145707093"/>
            <ac:spMk id="8" creationId="{A58E1C35-493D-4ECE-BAB1-073144B7A246}"/>
          </ac:spMkLst>
        </pc:spChg>
        <pc:spChg chg="mod">
          <ac:chgData name="Jiang, Abi" userId="4c4697c9-796b-4a70-bf01-c40b4d7a63d9" providerId="ADAL" clId="{C044AA74-99AA-43A9-A9BB-5E5B953524B8}" dt="2022-07-11T13:29:30.093" v="88" actId="20577"/>
          <ac:spMkLst>
            <pc:docMk/>
            <pc:sldMk cId="154888229" sldId="2145707093"/>
            <ac:spMk id="9" creationId="{ACAA8949-3B4B-4C1F-9EFF-DF66223B8E3F}"/>
          </ac:spMkLst>
        </pc:spChg>
        <pc:spChg chg="mod">
          <ac:chgData name="Jiang, Abi" userId="4c4697c9-796b-4a70-bf01-c40b4d7a63d9" providerId="ADAL" clId="{C044AA74-99AA-43A9-A9BB-5E5B953524B8}" dt="2022-07-11T13:29:27.660" v="87" actId="20577"/>
          <ac:spMkLst>
            <pc:docMk/>
            <pc:sldMk cId="154888229" sldId="2145707093"/>
            <ac:spMk id="10" creationId="{70CAD0C0-AFE6-425F-95FD-7026CD76ECBE}"/>
          </ac:spMkLst>
        </pc:spChg>
        <pc:spChg chg="mod">
          <ac:chgData name="Jiang, Abi" userId="4c4697c9-796b-4a70-bf01-c40b4d7a63d9" providerId="ADAL" clId="{C044AA74-99AA-43A9-A9BB-5E5B953524B8}" dt="2022-07-11T13:29:32.419" v="89" actId="20577"/>
          <ac:spMkLst>
            <pc:docMk/>
            <pc:sldMk cId="154888229" sldId="2145707093"/>
            <ac:spMk id="13" creationId="{AF0F697D-3C75-455D-9742-E7D44D79D22D}"/>
          </ac:spMkLst>
        </pc:spChg>
        <pc:spChg chg="mod">
          <ac:chgData name="Jiang, Abi" userId="4c4697c9-796b-4a70-bf01-c40b4d7a63d9" providerId="ADAL" clId="{C044AA74-99AA-43A9-A9BB-5E5B953524B8}" dt="2022-07-11T13:29:43.818" v="104" actId="20577"/>
          <ac:spMkLst>
            <pc:docMk/>
            <pc:sldMk cId="154888229" sldId="2145707093"/>
            <ac:spMk id="14" creationId="{2336BA2F-C8BC-42BA-96B0-8C624F243519}"/>
          </ac:spMkLst>
        </pc:spChg>
        <pc:spChg chg="add del mod">
          <ac:chgData name="Jiang, Abi" userId="4c4697c9-796b-4a70-bf01-c40b4d7a63d9" providerId="ADAL" clId="{C044AA74-99AA-43A9-A9BB-5E5B953524B8}" dt="2022-07-11T13:29:33.871" v="90" actId="20577"/>
          <ac:spMkLst>
            <pc:docMk/>
            <pc:sldMk cId="154888229" sldId="2145707093"/>
            <ac:spMk id="15" creationId="{A766C1DC-DA77-4D0C-8C63-D18266644097}"/>
          </ac:spMkLst>
        </pc:spChg>
        <pc:spChg chg="add del mod">
          <ac:chgData name="Jiang, Abi" userId="4c4697c9-796b-4a70-bf01-c40b4d7a63d9" providerId="ADAL" clId="{C044AA74-99AA-43A9-A9BB-5E5B953524B8}" dt="2022-07-11T13:29:48.010" v="119" actId="20577"/>
          <ac:spMkLst>
            <pc:docMk/>
            <pc:sldMk cId="154888229" sldId="2145707093"/>
            <ac:spMk id="16" creationId="{FB93AF8E-7686-4365-9E21-A8F9A86945E6}"/>
          </ac:spMkLst>
        </pc:spChg>
        <pc:spChg chg="del">
          <ac:chgData name="Jiang, Abi" userId="4c4697c9-796b-4a70-bf01-c40b4d7a63d9" providerId="ADAL" clId="{C044AA74-99AA-43A9-A9BB-5E5B953524B8}" dt="2022-07-11T13:28:51.989" v="38" actId="478"/>
          <ac:spMkLst>
            <pc:docMk/>
            <pc:sldMk cId="154888229" sldId="2145707093"/>
            <ac:spMk id="17" creationId="{92C1B03C-24E2-4E98-8C1E-65729AB6EE4E}"/>
          </ac:spMkLst>
        </pc:spChg>
        <pc:spChg chg="del">
          <ac:chgData name="Jiang, Abi" userId="4c4697c9-796b-4a70-bf01-c40b4d7a63d9" providerId="ADAL" clId="{C044AA74-99AA-43A9-A9BB-5E5B953524B8}" dt="2022-07-11T13:28:51.989" v="38" actId="478"/>
          <ac:spMkLst>
            <pc:docMk/>
            <pc:sldMk cId="154888229" sldId="2145707093"/>
            <ac:spMk id="19" creationId="{7D941139-3B8E-439E-8C2A-F7362AB561C6}"/>
          </ac:spMkLst>
        </pc:spChg>
      </pc:sldChg>
      <pc:sldChg chg="addSp delSp modSp mod">
        <pc:chgData name="Jiang, Abi" userId="4c4697c9-796b-4a70-bf01-c40b4d7a63d9" providerId="ADAL" clId="{C044AA74-99AA-43A9-A9BB-5E5B953524B8}" dt="2022-07-13T09:19:53.781" v="363"/>
        <pc:sldMkLst>
          <pc:docMk/>
          <pc:sldMk cId="2625315683" sldId="2145707094"/>
        </pc:sldMkLst>
        <pc:spChg chg="del">
          <ac:chgData name="Jiang, Abi" userId="4c4697c9-796b-4a70-bf01-c40b4d7a63d9" providerId="ADAL" clId="{C044AA74-99AA-43A9-A9BB-5E5B953524B8}" dt="2022-07-13T09:19:51.183" v="361" actId="478"/>
          <ac:spMkLst>
            <pc:docMk/>
            <pc:sldMk cId="2625315683" sldId="2145707094"/>
            <ac:spMk id="2" creationId="{AC944321-26F5-5841-9833-529382AC16FD}"/>
          </ac:spMkLst>
        </pc:spChg>
        <pc:spChg chg="add del mod">
          <ac:chgData name="Jiang, Abi" userId="4c4697c9-796b-4a70-bf01-c40b4d7a63d9" providerId="ADAL" clId="{C044AA74-99AA-43A9-A9BB-5E5B953524B8}" dt="2022-07-13T09:19:53.292" v="362" actId="478"/>
          <ac:spMkLst>
            <pc:docMk/>
            <pc:sldMk cId="2625315683" sldId="2145707094"/>
            <ac:spMk id="4" creationId="{56F4601D-A81B-4BF4-8EC1-B3FE2A72459B}"/>
          </ac:spMkLst>
        </pc:spChg>
        <pc:spChg chg="add mod">
          <ac:chgData name="Jiang, Abi" userId="4c4697c9-796b-4a70-bf01-c40b4d7a63d9" providerId="ADAL" clId="{C044AA74-99AA-43A9-A9BB-5E5B953524B8}" dt="2022-07-13T09:19:53.781" v="363"/>
          <ac:spMkLst>
            <pc:docMk/>
            <pc:sldMk cId="2625315683" sldId="2145707094"/>
            <ac:spMk id="7" creationId="{5EDCC9AE-A996-458D-B908-216DFFE5AA93}"/>
          </ac:spMkLst>
        </pc:spChg>
      </pc:sldChg>
      <pc:sldChg chg="modSp del mod">
        <pc:chgData name="Jiang, Abi" userId="4c4697c9-796b-4a70-bf01-c40b4d7a63d9" providerId="ADAL" clId="{C044AA74-99AA-43A9-A9BB-5E5B953524B8}" dt="2022-07-12T02:38:48.425" v="352" actId="47"/>
        <pc:sldMkLst>
          <pc:docMk/>
          <pc:sldMk cId="3113010600" sldId="2145707095"/>
        </pc:sldMkLst>
        <pc:spChg chg="mod">
          <ac:chgData name="Jiang, Abi" userId="4c4697c9-796b-4a70-bf01-c40b4d7a63d9" providerId="ADAL" clId="{C044AA74-99AA-43A9-A9BB-5E5B953524B8}" dt="2022-07-12T02:06:44.253" v="350" actId="20577"/>
          <ac:spMkLst>
            <pc:docMk/>
            <pc:sldMk cId="3113010600" sldId="2145707095"/>
            <ac:spMk id="23" creationId="{C42D7144-9BCF-4A34-80A9-B62CD682B103}"/>
          </ac:spMkLst>
        </pc:spChg>
      </pc:sldChg>
      <pc:sldChg chg="addSp delSp modSp add del mod">
        <pc:chgData name="Jiang, Abi" userId="4c4697c9-796b-4a70-bf01-c40b4d7a63d9" providerId="ADAL" clId="{C044AA74-99AA-43A9-A9BB-5E5B953524B8}" dt="2022-07-14T02:33:54.382" v="365" actId="47"/>
        <pc:sldMkLst>
          <pc:docMk/>
          <pc:sldMk cId="3028108814" sldId="2145707097"/>
        </pc:sldMkLst>
        <pc:graphicFrameChg chg="add mod modGraphic">
          <ac:chgData name="Jiang, Abi" userId="4c4697c9-796b-4a70-bf01-c40b4d7a63d9" providerId="ADAL" clId="{C044AA74-99AA-43A9-A9BB-5E5B953524B8}" dt="2022-07-12T01:47:25.855" v="347" actId="14100"/>
          <ac:graphicFrameMkLst>
            <pc:docMk/>
            <pc:sldMk cId="3028108814" sldId="2145707097"/>
            <ac:graphicFrameMk id="4" creationId="{80F86063-E383-4B1F-A00B-C95256A665D1}"/>
          </ac:graphicFrameMkLst>
        </pc:graphicFrameChg>
        <pc:picChg chg="del mod">
          <ac:chgData name="Jiang, Abi" userId="4c4697c9-796b-4a70-bf01-c40b4d7a63d9" providerId="ADAL" clId="{C044AA74-99AA-43A9-A9BB-5E5B953524B8}" dt="2022-07-11T13:32:52.196" v="255" actId="478"/>
          <ac:picMkLst>
            <pc:docMk/>
            <pc:sldMk cId="3028108814" sldId="2145707097"/>
            <ac:picMk id="5" creationId="{37D6A233-4442-446D-85A0-3CEAA647D30E}"/>
          </ac:picMkLst>
        </pc:picChg>
      </pc:sldChg>
      <pc:sldChg chg="addSp delSp modSp mod">
        <pc:chgData name="Jiang, Abi" userId="4c4697c9-796b-4a70-bf01-c40b4d7a63d9" providerId="ADAL" clId="{C044AA74-99AA-43A9-A9BB-5E5B953524B8}" dt="2022-07-13T01:58:01.509" v="360" actId="1076"/>
        <pc:sldMkLst>
          <pc:docMk/>
          <pc:sldMk cId="4021831879" sldId="2145707098"/>
        </pc:sldMkLst>
        <pc:spChg chg="mod">
          <ac:chgData name="Jiang, Abi" userId="4c4697c9-796b-4a70-bf01-c40b4d7a63d9" providerId="ADAL" clId="{C044AA74-99AA-43A9-A9BB-5E5B953524B8}" dt="2022-07-12T01:41:13.246" v="265" actId="207"/>
          <ac:spMkLst>
            <pc:docMk/>
            <pc:sldMk cId="4021831879" sldId="2145707098"/>
            <ac:spMk id="14" creationId="{DE919A7C-DE5B-4AE7-9C78-217840C806D4}"/>
          </ac:spMkLst>
        </pc:spChg>
        <pc:spChg chg="del mod">
          <ac:chgData name="Jiang, Abi" userId="4c4697c9-796b-4a70-bf01-c40b4d7a63d9" providerId="ADAL" clId="{C044AA74-99AA-43A9-A9BB-5E5B953524B8}" dt="2022-07-13T01:56:24.483" v="358" actId="478"/>
          <ac:spMkLst>
            <pc:docMk/>
            <pc:sldMk cId="4021831879" sldId="2145707098"/>
            <ac:spMk id="24" creationId="{B98F0CDD-7ECE-44CB-9C1B-8CF8CFEB6F7C}"/>
          </ac:spMkLst>
        </pc:spChg>
        <pc:spChg chg="mod">
          <ac:chgData name="Jiang, Abi" userId="4c4697c9-796b-4a70-bf01-c40b4d7a63d9" providerId="ADAL" clId="{C044AA74-99AA-43A9-A9BB-5E5B953524B8}" dt="2022-07-12T01:42:56.436" v="310" actId="1076"/>
          <ac:spMkLst>
            <pc:docMk/>
            <pc:sldMk cId="4021831879" sldId="2145707098"/>
            <ac:spMk id="29" creationId="{0C46B307-5005-4818-AB12-83BE78CD0D45}"/>
          </ac:spMkLst>
        </pc:spChg>
        <pc:spChg chg="mod">
          <ac:chgData name="Jiang, Abi" userId="4c4697c9-796b-4a70-bf01-c40b4d7a63d9" providerId="ADAL" clId="{C044AA74-99AA-43A9-A9BB-5E5B953524B8}" dt="2022-07-13T01:58:01.509" v="360" actId="1076"/>
          <ac:spMkLst>
            <pc:docMk/>
            <pc:sldMk cId="4021831879" sldId="2145707098"/>
            <ac:spMk id="41" creationId="{BCB59ADF-DFA9-4349-9142-BF424B238C51}"/>
          </ac:spMkLst>
        </pc:spChg>
        <pc:spChg chg="mod ord">
          <ac:chgData name="Jiang, Abi" userId="4c4697c9-796b-4a70-bf01-c40b4d7a63d9" providerId="ADAL" clId="{C044AA74-99AA-43A9-A9BB-5E5B953524B8}" dt="2022-07-12T01:41:25.662" v="267" actId="167"/>
          <ac:spMkLst>
            <pc:docMk/>
            <pc:sldMk cId="4021831879" sldId="2145707098"/>
            <ac:spMk id="42" creationId="{A10BB6DC-3731-48C3-852B-3FC748723771}"/>
          </ac:spMkLst>
        </pc:spChg>
        <pc:spChg chg="add mod ord">
          <ac:chgData name="Jiang, Abi" userId="4c4697c9-796b-4a70-bf01-c40b4d7a63d9" providerId="ADAL" clId="{C044AA74-99AA-43A9-A9BB-5E5B953524B8}" dt="2022-07-12T01:43:53.082" v="325" actId="208"/>
          <ac:spMkLst>
            <pc:docMk/>
            <pc:sldMk cId="4021831879" sldId="2145707098"/>
            <ac:spMk id="43" creationId="{C1A1BBDC-E45D-4D29-9649-5024596979D2}"/>
          </ac:spMkLst>
        </pc:spChg>
        <pc:spChg chg="add mod ord">
          <ac:chgData name="Jiang, Abi" userId="4c4697c9-796b-4a70-bf01-c40b4d7a63d9" providerId="ADAL" clId="{C044AA74-99AA-43A9-A9BB-5E5B953524B8}" dt="2022-07-12T01:41:41.977" v="270" actId="167"/>
          <ac:spMkLst>
            <pc:docMk/>
            <pc:sldMk cId="4021831879" sldId="2145707098"/>
            <ac:spMk id="44" creationId="{EDF05E3D-21E5-45A5-974E-D359995851BD}"/>
          </ac:spMkLst>
        </pc:spChg>
        <pc:spChg chg="add del mod">
          <ac:chgData name="Jiang, Abi" userId="4c4697c9-796b-4a70-bf01-c40b4d7a63d9" providerId="ADAL" clId="{C044AA74-99AA-43A9-A9BB-5E5B953524B8}" dt="2022-07-12T01:41:39.413" v="269" actId="478"/>
          <ac:spMkLst>
            <pc:docMk/>
            <pc:sldMk cId="4021831879" sldId="2145707098"/>
            <ac:spMk id="45" creationId="{0E439177-E57B-4DFB-9519-5FEF7C645FC8}"/>
          </ac:spMkLst>
        </pc:spChg>
        <pc:spChg chg="add mod">
          <ac:chgData name="Jiang, Abi" userId="4c4697c9-796b-4a70-bf01-c40b4d7a63d9" providerId="ADAL" clId="{C044AA74-99AA-43A9-A9BB-5E5B953524B8}" dt="2022-07-13T01:57:33.985" v="359" actId="20577"/>
          <ac:spMkLst>
            <pc:docMk/>
            <pc:sldMk cId="4021831879" sldId="2145707098"/>
            <ac:spMk id="45" creationId="{2F60CB23-768C-4493-B60E-90D48B899417}"/>
          </ac:spMkLst>
        </pc:spChg>
        <pc:spChg chg="mod">
          <ac:chgData name="Jiang, Abi" userId="4c4697c9-796b-4a70-bf01-c40b4d7a63d9" providerId="ADAL" clId="{C044AA74-99AA-43A9-A9BB-5E5B953524B8}" dt="2022-07-12T01:42:59.307" v="311" actId="1076"/>
          <ac:spMkLst>
            <pc:docMk/>
            <pc:sldMk cId="4021831879" sldId="2145707098"/>
            <ac:spMk id="74" creationId="{8F87823B-F250-4322-8598-1B4F44BAED4D}"/>
          </ac:spMkLst>
        </pc:spChg>
        <pc:spChg chg="mod ord">
          <ac:chgData name="Jiang, Abi" userId="4c4697c9-796b-4a70-bf01-c40b4d7a63d9" providerId="ADAL" clId="{C044AA74-99AA-43A9-A9BB-5E5B953524B8}" dt="2022-07-12T01:42:27.824" v="280" actId="14100"/>
          <ac:spMkLst>
            <pc:docMk/>
            <pc:sldMk cId="4021831879" sldId="2145707098"/>
            <ac:spMk id="76" creationId="{B27F583A-4739-4F82-AE49-2B8D26F29891}"/>
          </ac:spMkLst>
        </pc:spChg>
        <pc:spChg chg="mod">
          <ac:chgData name="Jiang, Abi" userId="4c4697c9-796b-4a70-bf01-c40b4d7a63d9" providerId="ADAL" clId="{C044AA74-99AA-43A9-A9BB-5E5B953524B8}" dt="2022-07-12T01:41:48.989" v="272" actId="1076"/>
          <ac:spMkLst>
            <pc:docMk/>
            <pc:sldMk cId="4021831879" sldId="2145707098"/>
            <ac:spMk id="77" creationId="{29B20C9D-15D5-4F40-BE0C-C1745935B7E1}"/>
          </ac:spMkLst>
        </pc:spChg>
        <pc:spChg chg="mod">
          <ac:chgData name="Jiang, Abi" userId="4c4697c9-796b-4a70-bf01-c40b4d7a63d9" providerId="ADAL" clId="{C044AA74-99AA-43A9-A9BB-5E5B953524B8}" dt="2022-07-12T01:42:47.709" v="309" actId="1037"/>
          <ac:spMkLst>
            <pc:docMk/>
            <pc:sldMk cId="4021831879" sldId="2145707098"/>
            <ac:spMk id="89" creationId="{B6C61370-0961-4DAE-B80E-FCACC1DC66D9}"/>
          </ac:spMkLst>
        </pc:spChg>
        <pc:spChg chg="mod">
          <ac:chgData name="Jiang, Abi" userId="4c4697c9-796b-4a70-bf01-c40b4d7a63d9" providerId="ADAL" clId="{C044AA74-99AA-43A9-A9BB-5E5B953524B8}" dt="2022-07-12T01:42:41.741" v="299" actId="1038"/>
          <ac:spMkLst>
            <pc:docMk/>
            <pc:sldMk cId="4021831879" sldId="2145707098"/>
            <ac:spMk id="90" creationId="{AB335B8A-E33E-4BA1-95F7-09FDA198C883}"/>
          </ac:spMkLst>
        </pc:spChg>
        <pc:spChg chg="mod">
          <ac:chgData name="Jiang, Abi" userId="4c4697c9-796b-4a70-bf01-c40b4d7a63d9" providerId="ADAL" clId="{C044AA74-99AA-43A9-A9BB-5E5B953524B8}" dt="2022-07-12T01:42:41.741" v="299" actId="1038"/>
          <ac:spMkLst>
            <pc:docMk/>
            <pc:sldMk cId="4021831879" sldId="2145707098"/>
            <ac:spMk id="96" creationId="{A4FDCB71-15E5-42BA-BCB5-4EF09D4267A6}"/>
          </ac:spMkLst>
        </pc:spChg>
        <pc:spChg chg="mod">
          <ac:chgData name="Jiang, Abi" userId="4c4697c9-796b-4a70-bf01-c40b4d7a63d9" providerId="ADAL" clId="{C044AA74-99AA-43A9-A9BB-5E5B953524B8}" dt="2022-07-12T01:42:47.709" v="309" actId="1037"/>
          <ac:spMkLst>
            <pc:docMk/>
            <pc:sldMk cId="4021831879" sldId="2145707098"/>
            <ac:spMk id="97" creationId="{154EBDD9-EAF0-4287-9FA8-DCB6FBFC55C0}"/>
          </ac:spMkLst>
        </pc:spChg>
        <pc:spChg chg="mod">
          <ac:chgData name="Jiang, Abi" userId="4c4697c9-796b-4a70-bf01-c40b4d7a63d9" providerId="ADAL" clId="{C044AA74-99AA-43A9-A9BB-5E5B953524B8}" dt="2022-07-12T01:42:47.709" v="309" actId="1037"/>
          <ac:spMkLst>
            <pc:docMk/>
            <pc:sldMk cId="4021831879" sldId="2145707098"/>
            <ac:spMk id="98" creationId="{D6E608AB-96EE-4000-9FF9-BB1391ED32E9}"/>
          </ac:spMkLst>
        </pc:spChg>
        <pc:grpChg chg="mod">
          <ac:chgData name="Jiang, Abi" userId="4c4697c9-796b-4a70-bf01-c40b4d7a63d9" providerId="ADAL" clId="{C044AA74-99AA-43A9-A9BB-5E5B953524B8}" dt="2022-07-12T01:42:47.709" v="309" actId="1037"/>
          <ac:grpSpMkLst>
            <pc:docMk/>
            <pc:sldMk cId="4021831879" sldId="2145707098"/>
            <ac:grpSpMk id="80" creationId="{7A7FE1A6-2BC2-4D68-B31F-4DD65A26BDE0}"/>
          </ac:grpSpMkLst>
        </pc:grpChg>
        <pc:grpChg chg="mod">
          <ac:chgData name="Jiang, Abi" userId="4c4697c9-796b-4a70-bf01-c40b4d7a63d9" providerId="ADAL" clId="{C044AA74-99AA-43A9-A9BB-5E5B953524B8}" dt="2022-07-12T01:42:41.741" v="299" actId="1038"/>
          <ac:grpSpMkLst>
            <pc:docMk/>
            <pc:sldMk cId="4021831879" sldId="2145707098"/>
            <ac:grpSpMk id="91" creationId="{D60DCBF6-96E0-420C-823D-9E7E65E44B6C}"/>
          </ac:grpSpMkLst>
        </pc:grpChg>
        <pc:cxnChg chg="mod">
          <ac:chgData name="Jiang, Abi" userId="4c4697c9-796b-4a70-bf01-c40b4d7a63d9" providerId="ADAL" clId="{C044AA74-99AA-43A9-A9BB-5E5B953524B8}" dt="2022-07-12T01:43:20.705" v="322" actId="1076"/>
          <ac:cxnSpMkLst>
            <pc:docMk/>
            <pc:sldMk cId="4021831879" sldId="2145707098"/>
            <ac:cxnSpMk id="20" creationId="{47D66DC3-314B-48BC-B301-B6E462043252}"/>
          </ac:cxnSpMkLst>
        </pc:cxnChg>
        <pc:cxnChg chg="mod">
          <ac:chgData name="Jiang, Abi" userId="4c4697c9-796b-4a70-bf01-c40b4d7a63d9" providerId="ADAL" clId="{C044AA74-99AA-43A9-A9BB-5E5B953524B8}" dt="2022-07-12T01:43:22.768" v="323" actId="14100"/>
          <ac:cxnSpMkLst>
            <pc:docMk/>
            <pc:sldMk cId="4021831879" sldId="2145707098"/>
            <ac:cxnSpMk id="23" creationId="{3DA2CC8D-BDC3-4D38-BA89-3BCE159D6C98}"/>
          </ac:cxnSpMkLst>
        </pc:cxnChg>
        <pc:cxnChg chg="mod">
          <ac:chgData name="Jiang, Abi" userId="4c4697c9-796b-4a70-bf01-c40b4d7a63d9" providerId="ADAL" clId="{C044AA74-99AA-43A9-A9BB-5E5B953524B8}" dt="2022-07-12T01:43:27.728" v="324" actId="14100"/>
          <ac:cxnSpMkLst>
            <pc:docMk/>
            <pc:sldMk cId="4021831879" sldId="2145707098"/>
            <ac:cxnSpMk id="78" creationId="{03276FA1-629D-4C85-A7AE-2E637C21EA14}"/>
          </ac:cxnSpMkLst>
        </pc:cxnChg>
      </pc:sldChg>
      <pc:sldChg chg="modSp mod">
        <pc:chgData name="Jiang, Abi" userId="4c4697c9-796b-4a70-bf01-c40b4d7a63d9" providerId="ADAL" clId="{C044AA74-99AA-43A9-A9BB-5E5B953524B8}" dt="2022-07-11T13:30:09.342" v="123" actId="20577"/>
        <pc:sldMkLst>
          <pc:docMk/>
          <pc:sldMk cId="74238437" sldId="2145707104"/>
        </pc:sldMkLst>
        <pc:spChg chg="mod">
          <ac:chgData name="Jiang, Abi" userId="4c4697c9-796b-4a70-bf01-c40b4d7a63d9" providerId="ADAL" clId="{C044AA74-99AA-43A9-A9BB-5E5B953524B8}" dt="2022-07-11T13:30:09.342" v="123" actId="20577"/>
          <ac:spMkLst>
            <pc:docMk/>
            <pc:sldMk cId="74238437" sldId="2145707104"/>
            <ac:spMk id="22" creationId="{5F530736-32AD-42C7-B3FC-79FE10B74A3A}"/>
          </ac:spMkLst>
        </pc:spChg>
      </pc:sldChg>
      <pc:sldChg chg="modSp mod">
        <pc:chgData name="Jiang, Abi" userId="4c4697c9-796b-4a70-bf01-c40b4d7a63d9" providerId="ADAL" clId="{C044AA74-99AA-43A9-A9BB-5E5B953524B8}" dt="2022-07-11T13:30:14.777" v="125" actId="20577"/>
        <pc:sldMkLst>
          <pc:docMk/>
          <pc:sldMk cId="1754269421" sldId="2145707105"/>
        </pc:sldMkLst>
        <pc:spChg chg="mod">
          <ac:chgData name="Jiang, Abi" userId="4c4697c9-796b-4a70-bf01-c40b4d7a63d9" providerId="ADAL" clId="{C044AA74-99AA-43A9-A9BB-5E5B953524B8}" dt="2022-07-11T13:30:14.777" v="125" actId="20577"/>
          <ac:spMkLst>
            <pc:docMk/>
            <pc:sldMk cId="1754269421" sldId="2145707105"/>
            <ac:spMk id="22" creationId="{5F530736-32AD-42C7-B3FC-79FE10B74A3A}"/>
          </ac:spMkLst>
        </pc:spChg>
      </pc:sldChg>
      <pc:sldChg chg="add del">
        <pc:chgData name="Jiang, Abi" userId="4c4697c9-796b-4a70-bf01-c40b4d7a63d9" providerId="ADAL" clId="{C044AA74-99AA-43A9-A9BB-5E5B953524B8}" dt="2022-07-12T06:19:37.521" v="354" actId="47"/>
        <pc:sldMkLst>
          <pc:docMk/>
          <pc:sldMk cId="800414659" sldId="2145707106"/>
        </pc:sldMkLst>
      </pc:sldChg>
      <pc:sldChg chg="del">
        <pc:chgData name="Jiang, Abi" userId="4c4697c9-796b-4a70-bf01-c40b4d7a63d9" providerId="ADAL" clId="{C044AA74-99AA-43A9-A9BB-5E5B953524B8}" dt="2022-07-11T13:30:00.166" v="120" actId="47"/>
        <pc:sldMkLst>
          <pc:docMk/>
          <pc:sldMk cId="4049094425" sldId="2145707106"/>
        </pc:sldMkLst>
      </pc:sldChg>
      <pc:sldChg chg="del">
        <pc:chgData name="Jiang, Abi" userId="4c4697c9-796b-4a70-bf01-c40b4d7a63d9" providerId="ADAL" clId="{C044AA74-99AA-43A9-A9BB-5E5B953524B8}" dt="2022-07-11T13:30:01.631" v="121" actId="47"/>
        <pc:sldMkLst>
          <pc:docMk/>
          <pc:sldMk cId="892944774" sldId="2145707107"/>
        </pc:sldMkLst>
      </pc:sldChg>
      <pc:sldChg chg="add">
        <pc:chgData name="Jiang, Abi" userId="4c4697c9-796b-4a70-bf01-c40b4d7a63d9" providerId="ADAL" clId="{C044AA74-99AA-43A9-A9BB-5E5B953524B8}" dt="2022-07-12T02:38:46.657" v="351"/>
        <pc:sldMkLst>
          <pc:docMk/>
          <pc:sldMk cId="3089504695" sldId="2145707107"/>
        </pc:sldMkLst>
      </pc:sldChg>
      <pc:sldChg chg="addSp delSp modSp add mod">
        <pc:chgData name="Jiang, Abi" userId="4c4697c9-796b-4a70-bf01-c40b4d7a63d9" providerId="ADAL" clId="{C044AA74-99AA-43A9-A9BB-5E5B953524B8}" dt="2022-07-14T02:35:33.191" v="369"/>
        <pc:sldMkLst>
          <pc:docMk/>
          <pc:sldMk cId="2732208158" sldId="2145707108"/>
        </pc:sldMkLst>
        <pc:spChg chg="mod">
          <ac:chgData name="Jiang, Abi" userId="4c4697c9-796b-4a70-bf01-c40b4d7a63d9" providerId="ADAL" clId="{C044AA74-99AA-43A9-A9BB-5E5B953524B8}" dt="2022-07-14T02:34:10.171" v="367" actId="1076"/>
          <ac:spMkLst>
            <pc:docMk/>
            <pc:sldMk cId="2732208158" sldId="2145707108"/>
            <ac:spMk id="63" creationId="{E22D36C2-8A03-44D0-B261-452F009AEB6D}"/>
          </ac:spMkLst>
        </pc:spChg>
        <pc:spChg chg="mod">
          <ac:chgData name="Jiang, Abi" userId="4c4697c9-796b-4a70-bf01-c40b4d7a63d9" providerId="ADAL" clId="{C044AA74-99AA-43A9-A9BB-5E5B953524B8}" dt="2022-07-14T02:35:33.191" v="369"/>
          <ac:spMkLst>
            <pc:docMk/>
            <pc:sldMk cId="2732208158" sldId="2145707108"/>
            <ac:spMk id="86" creationId="{D852D9E7-13C6-4868-8FB5-B7FB2B85B74B}"/>
          </ac:spMkLst>
        </pc:spChg>
        <pc:spChg chg="mod">
          <ac:chgData name="Jiang, Abi" userId="4c4697c9-796b-4a70-bf01-c40b4d7a63d9" providerId="ADAL" clId="{C044AA74-99AA-43A9-A9BB-5E5B953524B8}" dt="2022-07-14T02:35:33.191" v="369"/>
          <ac:spMkLst>
            <pc:docMk/>
            <pc:sldMk cId="2732208158" sldId="2145707108"/>
            <ac:spMk id="87" creationId="{F6E9BF40-98A8-4E9E-ADCA-1FF9BA52A43B}"/>
          </ac:spMkLst>
        </pc:spChg>
        <pc:spChg chg="mod">
          <ac:chgData name="Jiang, Abi" userId="4c4697c9-796b-4a70-bf01-c40b4d7a63d9" providerId="ADAL" clId="{C044AA74-99AA-43A9-A9BB-5E5B953524B8}" dt="2022-07-14T02:35:33.191" v="369"/>
          <ac:spMkLst>
            <pc:docMk/>
            <pc:sldMk cId="2732208158" sldId="2145707108"/>
            <ac:spMk id="88" creationId="{B66A192F-2CA8-4A5F-8081-0470511B22C4}"/>
          </ac:spMkLst>
        </pc:spChg>
        <pc:spChg chg="mod">
          <ac:chgData name="Jiang, Abi" userId="4c4697c9-796b-4a70-bf01-c40b4d7a63d9" providerId="ADAL" clId="{C044AA74-99AA-43A9-A9BB-5E5B953524B8}" dt="2022-07-14T02:35:33.191" v="369"/>
          <ac:spMkLst>
            <pc:docMk/>
            <pc:sldMk cId="2732208158" sldId="2145707108"/>
            <ac:spMk id="89" creationId="{64D849A6-D738-43AA-86CE-643AA44361EB}"/>
          </ac:spMkLst>
        </pc:spChg>
        <pc:spChg chg="mod">
          <ac:chgData name="Jiang, Abi" userId="4c4697c9-796b-4a70-bf01-c40b4d7a63d9" providerId="ADAL" clId="{C044AA74-99AA-43A9-A9BB-5E5B953524B8}" dt="2022-07-14T02:35:33.191" v="369"/>
          <ac:spMkLst>
            <pc:docMk/>
            <pc:sldMk cId="2732208158" sldId="2145707108"/>
            <ac:spMk id="92" creationId="{6D57619F-F551-4555-AB40-5BC9F800860E}"/>
          </ac:spMkLst>
        </pc:spChg>
        <pc:spChg chg="mod">
          <ac:chgData name="Jiang, Abi" userId="4c4697c9-796b-4a70-bf01-c40b4d7a63d9" providerId="ADAL" clId="{C044AA74-99AA-43A9-A9BB-5E5B953524B8}" dt="2022-07-14T02:35:33.191" v="369"/>
          <ac:spMkLst>
            <pc:docMk/>
            <pc:sldMk cId="2732208158" sldId="2145707108"/>
            <ac:spMk id="93" creationId="{A7732E62-EC1A-4131-985D-45A15DE42570}"/>
          </ac:spMkLst>
        </pc:spChg>
        <pc:spChg chg="mod">
          <ac:chgData name="Jiang, Abi" userId="4c4697c9-796b-4a70-bf01-c40b4d7a63d9" providerId="ADAL" clId="{C044AA74-99AA-43A9-A9BB-5E5B953524B8}" dt="2022-07-14T02:35:33.191" v="369"/>
          <ac:spMkLst>
            <pc:docMk/>
            <pc:sldMk cId="2732208158" sldId="2145707108"/>
            <ac:spMk id="95" creationId="{259CF705-BACC-4538-BD06-87F782A3EEF6}"/>
          </ac:spMkLst>
        </pc:spChg>
        <pc:spChg chg="mod">
          <ac:chgData name="Jiang, Abi" userId="4c4697c9-796b-4a70-bf01-c40b4d7a63d9" providerId="ADAL" clId="{C044AA74-99AA-43A9-A9BB-5E5B953524B8}" dt="2022-07-14T02:35:33.191" v="369"/>
          <ac:spMkLst>
            <pc:docMk/>
            <pc:sldMk cId="2732208158" sldId="2145707108"/>
            <ac:spMk id="97" creationId="{ECA9D802-BCEC-4D3D-8DFB-0017A482DA68}"/>
          </ac:spMkLst>
        </pc:spChg>
        <pc:spChg chg="mod">
          <ac:chgData name="Jiang, Abi" userId="4c4697c9-796b-4a70-bf01-c40b4d7a63d9" providerId="ADAL" clId="{C044AA74-99AA-43A9-A9BB-5E5B953524B8}" dt="2022-07-14T02:35:33.191" v="369"/>
          <ac:spMkLst>
            <pc:docMk/>
            <pc:sldMk cId="2732208158" sldId="2145707108"/>
            <ac:spMk id="98" creationId="{9B0AAA3F-5075-437E-BC03-D417A088E7A0}"/>
          </ac:spMkLst>
        </pc:spChg>
        <pc:grpChg chg="del">
          <ac:chgData name="Jiang, Abi" userId="4c4697c9-796b-4a70-bf01-c40b4d7a63d9" providerId="ADAL" clId="{C044AA74-99AA-43A9-A9BB-5E5B953524B8}" dt="2022-07-14T02:35:32.705" v="368" actId="478"/>
          <ac:grpSpMkLst>
            <pc:docMk/>
            <pc:sldMk cId="2732208158" sldId="2145707108"/>
            <ac:grpSpMk id="2" creationId="{8EDCD7F8-BBF6-4236-B7FA-7975E7B6B046}"/>
          </ac:grpSpMkLst>
        </pc:grpChg>
        <pc:grpChg chg="add mod">
          <ac:chgData name="Jiang, Abi" userId="4c4697c9-796b-4a70-bf01-c40b4d7a63d9" providerId="ADAL" clId="{C044AA74-99AA-43A9-A9BB-5E5B953524B8}" dt="2022-07-14T02:35:33.191" v="369"/>
          <ac:grpSpMkLst>
            <pc:docMk/>
            <pc:sldMk cId="2732208158" sldId="2145707108"/>
            <ac:grpSpMk id="84" creationId="{D8B9FB31-2AC1-42AF-B713-2EA116DF29EC}"/>
          </ac:grpSpMkLst>
        </pc:grpChg>
        <pc:grpChg chg="mod">
          <ac:chgData name="Jiang, Abi" userId="4c4697c9-796b-4a70-bf01-c40b4d7a63d9" providerId="ADAL" clId="{C044AA74-99AA-43A9-A9BB-5E5B953524B8}" dt="2022-07-14T02:35:33.191" v="369"/>
          <ac:grpSpMkLst>
            <pc:docMk/>
            <pc:sldMk cId="2732208158" sldId="2145707108"/>
            <ac:grpSpMk id="85" creationId="{DBBBC6AC-CB5F-46AF-94A2-D89A406DE6C8}"/>
          </ac:grpSpMkLst>
        </pc:grpChg>
        <pc:picChg chg="mod">
          <ac:chgData name="Jiang, Abi" userId="4c4697c9-796b-4a70-bf01-c40b4d7a63d9" providerId="ADAL" clId="{C044AA74-99AA-43A9-A9BB-5E5B953524B8}" dt="2022-07-14T02:35:33.191" v="369"/>
          <ac:picMkLst>
            <pc:docMk/>
            <pc:sldMk cId="2732208158" sldId="2145707108"/>
            <ac:picMk id="90" creationId="{8A8DAB4C-57B6-4B76-BDE2-599BC86668FF}"/>
          </ac:picMkLst>
        </pc:picChg>
        <pc:picChg chg="mod">
          <ac:chgData name="Jiang, Abi" userId="4c4697c9-796b-4a70-bf01-c40b4d7a63d9" providerId="ADAL" clId="{C044AA74-99AA-43A9-A9BB-5E5B953524B8}" dt="2022-07-14T02:35:33.191" v="369"/>
          <ac:picMkLst>
            <pc:docMk/>
            <pc:sldMk cId="2732208158" sldId="2145707108"/>
            <ac:picMk id="91" creationId="{CF257C04-931D-4D91-A2C4-EEF5E3666C3E}"/>
          </ac:picMkLst>
        </pc:picChg>
        <pc:picChg chg="mod">
          <ac:chgData name="Jiang, Abi" userId="4c4697c9-796b-4a70-bf01-c40b4d7a63d9" providerId="ADAL" clId="{C044AA74-99AA-43A9-A9BB-5E5B953524B8}" dt="2022-07-14T02:35:33.191" v="369"/>
          <ac:picMkLst>
            <pc:docMk/>
            <pc:sldMk cId="2732208158" sldId="2145707108"/>
            <ac:picMk id="94" creationId="{86FBF23C-044B-4D3D-A4C9-8ECC80F5E9FD}"/>
          </ac:picMkLst>
        </pc:picChg>
        <pc:picChg chg="mod">
          <ac:chgData name="Jiang, Abi" userId="4c4697c9-796b-4a70-bf01-c40b4d7a63d9" providerId="ADAL" clId="{C044AA74-99AA-43A9-A9BB-5E5B953524B8}" dt="2022-07-14T02:35:33.191" v="369"/>
          <ac:picMkLst>
            <pc:docMk/>
            <pc:sldMk cId="2732208158" sldId="2145707108"/>
            <ac:picMk id="96" creationId="{8DC5AD35-ADC7-45A4-A8BA-CAF9FD76580A}"/>
          </ac:picMkLst>
        </pc:picChg>
        <pc:picChg chg="mod">
          <ac:chgData name="Jiang, Abi" userId="4c4697c9-796b-4a70-bf01-c40b4d7a63d9" providerId="ADAL" clId="{C044AA74-99AA-43A9-A9BB-5E5B953524B8}" dt="2022-07-14T02:35:33.191" v="369"/>
          <ac:picMkLst>
            <pc:docMk/>
            <pc:sldMk cId="2732208158" sldId="2145707108"/>
            <ac:picMk id="99" creationId="{A54A106A-73AA-47CA-B1F9-4AA46591FC46}"/>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2722938362473"/>
          <c:y val="0.14269730613650056"/>
          <c:w val="0.56894162608382037"/>
          <c:h val="0.85730269386349944"/>
        </c:manualLayout>
      </c:layout>
      <c:doughnutChart>
        <c:varyColors val="1"/>
        <c:ser>
          <c:idx val="0"/>
          <c:order val="0"/>
          <c:tx>
            <c:strRef>
              <c:f>Sheet1!$B$1</c:f>
              <c:strCache>
                <c:ptCount val="1"/>
                <c:pt idx="0">
                  <c:v>列1</c:v>
                </c:pt>
              </c:strCache>
            </c:strRef>
          </c:tx>
          <c:dPt>
            <c:idx val="0"/>
            <c:bubble3D val="0"/>
            <c:spPr>
              <a:solidFill>
                <a:schemeClr val="bg1"/>
              </a:solidFill>
              <a:ln w="19050">
                <a:solidFill>
                  <a:schemeClr val="lt1"/>
                </a:solidFill>
              </a:ln>
              <a:effectLst/>
            </c:spPr>
            <c:extLst>
              <c:ext xmlns:c16="http://schemas.microsoft.com/office/drawing/2014/chart" uri="{C3380CC4-5D6E-409C-BE32-E72D297353CC}">
                <c16:uniqueId val="{00000001-4495-4279-9F6C-FC83095177B2}"/>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495-4279-9F6C-FC83095177B2}"/>
              </c:ext>
            </c:extLst>
          </c:dPt>
          <c:cat>
            <c:strRef>
              <c:f>Sheet1!$A$2:$A$3</c:f>
              <c:strCache>
                <c:ptCount val="2"/>
                <c:pt idx="0">
                  <c:v>未发作</c:v>
                </c:pt>
                <c:pt idx="1">
                  <c:v>发作</c:v>
                </c:pt>
              </c:strCache>
            </c:strRef>
          </c:cat>
          <c:val>
            <c:numRef>
              <c:f>Sheet1!$B$2:$B$3</c:f>
              <c:numCache>
                <c:formatCode>0.00%</c:formatCode>
                <c:ptCount val="2"/>
                <c:pt idx="0">
                  <c:v>0.76200000000000001</c:v>
                </c:pt>
                <c:pt idx="1">
                  <c:v>0.23799999999999999</c:v>
                </c:pt>
              </c:numCache>
            </c:numRef>
          </c:val>
          <c:extLst>
            <c:ext xmlns:c16="http://schemas.microsoft.com/office/drawing/2014/chart" uri="{C3380CC4-5D6E-409C-BE32-E72D297353CC}">
              <c16:uniqueId val="{00000004-4495-4279-9F6C-FC83095177B2}"/>
            </c:ext>
          </c:extLst>
        </c:ser>
        <c:dLbls>
          <c:showLegendKey val="0"/>
          <c:showVal val="0"/>
          <c:showCatName val="0"/>
          <c:showSerName val="0"/>
          <c:showPercent val="0"/>
          <c:showBubbleSize val="0"/>
          <c:showLeaderLines val="1"/>
        </c:dLbls>
        <c:firstSliceAng val="0"/>
        <c:holeSize val="6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542722938362473"/>
          <c:y val="0.14269730613650056"/>
          <c:w val="0.56894162608382037"/>
          <c:h val="0.85730269386349944"/>
        </c:manualLayout>
      </c:layout>
      <c:doughnutChart>
        <c:varyColors val="1"/>
        <c:ser>
          <c:idx val="0"/>
          <c:order val="0"/>
          <c:tx>
            <c:strRef>
              <c:f>Sheet1!$B$1</c:f>
              <c:strCache>
                <c:ptCount val="1"/>
                <c:pt idx="0">
                  <c:v>列1</c:v>
                </c:pt>
              </c:strCache>
            </c:strRef>
          </c:tx>
          <c:dPt>
            <c:idx val="0"/>
            <c:bubble3D val="0"/>
            <c:spPr>
              <a:solidFill>
                <a:schemeClr val="accent1">
                  <a:shade val="65000"/>
                </a:schemeClr>
              </a:solidFill>
              <a:ln w="19050">
                <a:solidFill>
                  <a:schemeClr val="lt1"/>
                </a:solidFill>
              </a:ln>
              <a:effectLst/>
            </c:spPr>
            <c:extLst>
              <c:ext xmlns:c16="http://schemas.microsoft.com/office/drawing/2014/chart" uri="{C3380CC4-5D6E-409C-BE32-E72D297353CC}">
                <c16:uniqueId val="{00000001-4495-4279-9F6C-FC83095177B2}"/>
              </c:ext>
            </c:extLst>
          </c:dPt>
          <c:dPt>
            <c:idx val="1"/>
            <c:bubble3D val="0"/>
            <c:spPr>
              <a:solidFill>
                <a:schemeClr val="accent2">
                  <a:lumMod val="40000"/>
                  <a:lumOff val="60000"/>
                </a:schemeClr>
              </a:solidFill>
              <a:ln w="19050">
                <a:solidFill>
                  <a:schemeClr val="lt1"/>
                </a:solidFill>
              </a:ln>
              <a:effectLst/>
            </c:spPr>
            <c:extLst>
              <c:ext xmlns:c16="http://schemas.microsoft.com/office/drawing/2014/chart" uri="{C3380CC4-5D6E-409C-BE32-E72D297353CC}">
                <c16:uniqueId val="{00000003-4495-4279-9F6C-FC83095177B2}"/>
              </c:ext>
            </c:extLst>
          </c:dPt>
          <c:dPt>
            <c:idx val="2"/>
            <c:bubble3D val="0"/>
            <c:spPr>
              <a:solidFill>
                <a:schemeClr val="bg1">
                  <a:lumMod val="75000"/>
                </a:schemeClr>
              </a:solidFill>
              <a:ln w="19050">
                <a:solidFill>
                  <a:schemeClr val="lt1"/>
                </a:solidFill>
              </a:ln>
              <a:effectLst/>
            </c:spPr>
            <c:extLst>
              <c:ext xmlns:c16="http://schemas.microsoft.com/office/drawing/2014/chart" uri="{C3380CC4-5D6E-409C-BE32-E72D297353CC}">
                <c16:uniqueId val="{00000004-C33E-4A47-B5BC-557AC47B69B8}"/>
              </c:ext>
            </c:extLst>
          </c:dPt>
          <c:dLbls>
            <c:dLbl>
              <c:idx val="0"/>
              <c:layout>
                <c:manualLayout>
                  <c:x val="0.20421079861051888"/>
                  <c:y val="-0.18824195894071094"/>
                </c:manualLayout>
              </c:layout>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showLegendKey val="0"/>
              <c:showVal val="1"/>
              <c:showCatName val="1"/>
              <c:showSerName val="0"/>
              <c:showPercent val="0"/>
              <c:showBubbleSize val="0"/>
              <c:extLst>
                <c:ext xmlns:c15="http://schemas.microsoft.com/office/drawing/2012/chart" uri="{CE6537A1-D6FC-4f65-9D91-7224C49458BB}">
                  <c15:layout>
                    <c:manualLayout>
                      <c:w val="0.37071590872481186"/>
                      <c:h val="0.50901431717081447"/>
                    </c:manualLayout>
                  </c15:layout>
                </c:ext>
                <c:ext xmlns:c16="http://schemas.microsoft.com/office/drawing/2014/chart" uri="{C3380CC4-5D6E-409C-BE32-E72D297353CC}">
                  <c16:uniqueId val="{00000001-4495-4279-9F6C-FC83095177B2}"/>
                </c:ext>
              </c:extLst>
            </c:dLbl>
            <c:dLbl>
              <c:idx val="1"/>
              <c:layout>
                <c:manualLayout>
                  <c:x val="0.38017052033527959"/>
                  <c:y val="-3.3410292057468052E-2"/>
                </c:manualLayout>
              </c:layout>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showLegendKey val="0"/>
              <c:showVal val="1"/>
              <c:showCatName val="1"/>
              <c:showSerName val="0"/>
              <c:showPercent val="0"/>
              <c:showBubbleSize val="0"/>
              <c:extLst>
                <c:ext xmlns:c15="http://schemas.microsoft.com/office/drawing/2012/chart" uri="{CE6537A1-D6FC-4f65-9D91-7224C49458BB}">
                  <c15:layout>
                    <c:manualLayout>
                      <c:w val="0.42419160133338646"/>
                      <c:h val="0.24658269443351674"/>
                    </c:manualLayout>
                  </c15:layout>
                </c:ext>
                <c:ext xmlns:c16="http://schemas.microsoft.com/office/drawing/2014/chart" uri="{C3380CC4-5D6E-409C-BE32-E72D297353CC}">
                  <c16:uniqueId val="{00000003-4495-4279-9F6C-FC83095177B2}"/>
                </c:ext>
              </c:extLst>
            </c:dLbl>
            <c:dLbl>
              <c:idx val="2"/>
              <c:layout>
                <c:manualLayout>
                  <c:x val="-0.13962086798981957"/>
                  <c:y val="-1.9429556066240306E-2"/>
                </c:manualLayout>
              </c:layout>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showLegendKey val="0"/>
              <c:showVal val="1"/>
              <c:showCatName val="1"/>
              <c:showSerName val="0"/>
              <c:showPercent val="0"/>
              <c:showBubbleSize val="0"/>
              <c:extLst>
                <c:ext xmlns:c15="http://schemas.microsoft.com/office/drawing/2012/chart" uri="{CE6537A1-D6FC-4f65-9D91-7224C49458BB}">
                  <c15:layout>
                    <c:manualLayout>
                      <c:w val="0.26844066184176363"/>
                      <c:h val="0.51722403889115354"/>
                    </c:manualLayout>
                  </c15:layout>
                </c:ext>
                <c:ext xmlns:c16="http://schemas.microsoft.com/office/drawing/2014/chart" uri="{C3380CC4-5D6E-409C-BE32-E72D297353CC}">
                  <c16:uniqueId val="{00000004-C33E-4A47-B5BC-557AC47B69B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zh-CN"/>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重度</c:v>
                </c:pt>
                <c:pt idx="1">
                  <c:v>中度</c:v>
                </c:pt>
                <c:pt idx="2">
                  <c:v>轻度</c:v>
                </c:pt>
              </c:strCache>
            </c:strRef>
          </c:cat>
          <c:val>
            <c:numRef>
              <c:f>Sheet1!$B$2:$B$4</c:f>
              <c:numCache>
                <c:formatCode>0.0%</c:formatCode>
                <c:ptCount val="3"/>
                <c:pt idx="0">
                  <c:v>0.433</c:v>
                </c:pt>
                <c:pt idx="1">
                  <c:v>0.192</c:v>
                </c:pt>
                <c:pt idx="2">
                  <c:v>0.375</c:v>
                </c:pt>
              </c:numCache>
            </c:numRef>
          </c:val>
          <c:extLst>
            <c:ext xmlns:c16="http://schemas.microsoft.com/office/drawing/2014/chart" uri="{C3380CC4-5D6E-409C-BE32-E72D297353CC}">
              <c16:uniqueId val="{00000004-4495-4279-9F6C-FC83095177B2}"/>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4076765360301384E-2"/>
          <c:y val="0.10144770419341499"/>
          <c:w val="0.88085600194388436"/>
          <c:h val="0.52799429253608876"/>
        </c:manualLayout>
      </c:layout>
      <c:barChart>
        <c:barDir val="col"/>
        <c:grouping val="clustered"/>
        <c:varyColors val="0"/>
        <c:ser>
          <c:idx val="0"/>
          <c:order val="0"/>
          <c:tx>
            <c:strRef>
              <c:f>Sheet1!$B$1</c:f>
              <c:strCache>
                <c:ptCount val="1"/>
                <c:pt idx="0">
                  <c:v>系列 1</c:v>
                </c:pt>
              </c:strCache>
            </c:strRef>
          </c:tx>
          <c:spPr>
            <a:solidFill>
              <a:schemeClr val="accent1"/>
            </a:solidFill>
            <a:ln>
              <a:noFill/>
            </a:ln>
            <a:effectLst/>
          </c:spPr>
          <c:invertIfNegative val="0"/>
          <c:dPt>
            <c:idx val="0"/>
            <c:invertIfNegative val="0"/>
            <c:bubble3D val="0"/>
            <c:spPr>
              <a:solidFill>
                <a:srgbClr val="7F7F7F"/>
              </a:solidFill>
              <a:ln>
                <a:noFill/>
              </a:ln>
              <a:effectLst/>
            </c:spPr>
            <c:extLst>
              <c:ext xmlns:c16="http://schemas.microsoft.com/office/drawing/2014/chart" uri="{C3380CC4-5D6E-409C-BE32-E72D297353CC}">
                <c16:uniqueId val="{00000001-EB21-494F-95A4-9B9696A76390}"/>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EB21-494F-95A4-9B9696A76390}"/>
              </c:ext>
            </c:extLst>
          </c:dPt>
          <c:dLbls>
            <c:dLbl>
              <c:idx val="0"/>
              <c:spPr>
                <a:noFill/>
                <a:ln>
                  <a:noFill/>
                </a:ln>
                <a:effectLst/>
              </c:spPr>
              <c:txPr>
                <a:bodyPr rot="0" spcFirstLastPara="1" vertOverflow="ellipsis" vert="horz" wrap="square" lIns="38100" tIns="19050" rIns="38100" bIns="19050" anchor="ctr" anchorCtr="1">
                  <a:noAutofit/>
                </a:bodyPr>
                <a:lstStyle/>
                <a:p>
                  <a:pPr>
                    <a:defRPr sz="8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extLst>
                <c:ext xmlns:c15="http://schemas.microsoft.com/office/drawing/2012/chart" uri="{CE6537A1-D6FC-4f65-9D91-7224C49458BB}">
                  <c15:layout>
                    <c:manualLayout>
                      <c:w val="8.0960469843932528E-2"/>
                      <c:h val="0.14740992665077943"/>
                    </c:manualLayout>
                  </c15:layout>
                </c:ext>
                <c:ext xmlns:c16="http://schemas.microsoft.com/office/drawing/2014/chart" uri="{C3380CC4-5D6E-409C-BE32-E72D297353CC}">
                  <c16:uniqueId val="{00000001-EB21-494F-95A4-9B9696A76390}"/>
                </c:ext>
              </c:extLst>
            </c:dLbl>
            <c:dLbl>
              <c:idx val="1"/>
              <c:layout>
                <c:manualLayout>
                  <c:x val="1.0601843815681954E-16"/>
                  <c:y val="3.5508057578298988E-2"/>
                </c:manualLayout>
              </c:layout>
              <c:spPr>
                <a:noFill/>
                <a:ln>
                  <a:noFill/>
                </a:ln>
                <a:effectLst/>
              </c:spPr>
              <c:txPr>
                <a:bodyPr rot="0" spcFirstLastPara="1" vertOverflow="ellipsis" vert="horz" wrap="square" lIns="38100" tIns="19050" rIns="38100" bIns="19050" anchor="ctr" anchorCtr="1">
                  <a:noAutofit/>
                </a:bodyPr>
                <a:lstStyle/>
                <a:p>
                  <a:pPr>
                    <a:defRPr sz="8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extLst>
                <c:ext xmlns:c15="http://schemas.microsoft.com/office/drawing/2012/chart" uri="{CE6537A1-D6FC-4f65-9D91-7224C49458BB}">
                  <c15:layout>
                    <c:manualLayout>
                      <c:w val="8.0960469843932528E-2"/>
                      <c:h val="0.13604546943447571"/>
                    </c:manualLayout>
                  </c15:layout>
                </c:ext>
                <c:ext xmlns:c16="http://schemas.microsoft.com/office/drawing/2014/chart" uri="{C3380CC4-5D6E-409C-BE32-E72D297353CC}">
                  <c16:uniqueId val="{00000003-EB21-494F-95A4-9B9696A76390}"/>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安慰剂
（n=41）</c:v>
                </c:pt>
                <c:pt idx="1">
                  <c:v>300mg Q2W（n=27）</c:v>
                </c:pt>
              </c:strCache>
            </c:strRef>
          </c:cat>
          <c:val>
            <c:numRef>
              <c:f>Sheet1!$B$2:$B$3</c:f>
              <c:numCache>
                <c:formatCode>General</c:formatCode>
                <c:ptCount val="2"/>
                <c:pt idx="0">
                  <c:v>1.97</c:v>
                </c:pt>
                <c:pt idx="1">
                  <c:v>0.26</c:v>
                </c:pt>
              </c:numCache>
            </c:numRef>
          </c:val>
          <c:extLst>
            <c:ext xmlns:c16="http://schemas.microsoft.com/office/drawing/2014/chart" uri="{C3380CC4-5D6E-409C-BE32-E72D297353CC}">
              <c16:uniqueId val="{00000008-EB21-494F-95A4-9B9696A76390}"/>
            </c:ext>
          </c:extLst>
        </c:ser>
        <c:dLbls>
          <c:dLblPos val="outEnd"/>
          <c:showLegendKey val="0"/>
          <c:showVal val="1"/>
          <c:showCatName val="0"/>
          <c:showSerName val="0"/>
          <c:showPercent val="0"/>
          <c:showBubbleSize val="0"/>
        </c:dLbls>
        <c:gapWidth val="219"/>
        <c:overlap val="-27"/>
        <c:axId val="617936583"/>
        <c:axId val="617938551"/>
      </c:barChart>
      <c:catAx>
        <c:axId val="6179365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crossAx val="617938551"/>
        <c:crosses val="autoZero"/>
        <c:auto val="1"/>
        <c:lblAlgn val="ctr"/>
        <c:lblOffset val="100"/>
        <c:noMultiLvlLbl val="0"/>
      </c:catAx>
      <c:valAx>
        <c:axId val="617938551"/>
        <c:scaling>
          <c:orientation val="minMax"/>
          <c:max val="2"/>
        </c:scaling>
        <c:delete val="0"/>
        <c:axPos val="l"/>
        <c:numFmt formatCode="#,##0_);[Red]\(#,##0\)" sourceLinked="0"/>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1A1918"/>
                </a:solidFill>
                <a:latin typeface="+mn-lt"/>
                <a:ea typeface="+mn-ea"/>
                <a:cs typeface="+mn-cs"/>
              </a:defRPr>
            </a:pPr>
            <a:endParaRPr lang="zh-CN"/>
          </a:p>
        </c:txPr>
        <c:crossAx val="617936583"/>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系列 1</c:v>
                </c:pt>
              </c:strCache>
            </c:strRef>
          </c:tx>
          <c:spPr>
            <a:solidFill>
              <a:schemeClr val="accent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EB21-494F-95A4-9B9696A76390}"/>
              </c:ext>
            </c:extLst>
          </c:dPt>
          <c:dPt>
            <c:idx val="1"/>
            <c:invertIfNegative val="0"/>
            <c:bubble3D val="0"/>
            <c:spPr>
              <a:solidFill>
                <a:schemeClr val="accent2"/>
              </a:solidFill>
              <a:ln>
                <a:noFill/>
              </a:ln>
              <a:effectLst/>
            </c:spPr>
            <c:extLst>
              <c:ext xmlns:c16="http://schemas.microsoft.com/office/drawing/2014/chart" uri="{C3380CC4-5D6E-409C-BE32-E72D297353CC}">
                <c16:uniqueId val="{00000003-EB21-494F-95A4-9B9696A76390}"/>
              </c:ext>
            </c:extLst>
          </c:dPt>
          <c:dLbls>
            <c:dLbl>
              <c:idx val="1"/>
              <c:layout>
                <c:manualLayout>
                  <c:x val="0"/>
                  <c:y val="5.771082139571901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B21-494F-95A4-9B9696A7639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1A1918"/>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安慰剂
（n=41）</c:v>
                </c:pt>
                <c:pt idx="1">
                  <c:v>300mg Q2W（n=27）</c:v>
                </c:pt>
              </c:strCache>
            </c:strRef>
          </c:cat>
          <c:val>
            <c:numRef>
              <c:f>Sheet1!$B$2:$B$3</c:f>
              <c:numCache>
                <c:formatCode>0.0%</c:formatCode>
                <c:ptCount val="2"/>
                <c:pt idx="0">
                  <c:v>2.7E-2</c:v>
                </c:pt>
                <c:pt idx="1">
                  <c:v>0.76900000000000002</c:v>
                </c:pt>
              </c:numCache>
            </c:numRef>
          </c:val>
          <c:extLst>
            <c:ext xmlns:c16="http://schemas.microsoft.com/office/drawing/2014/chart" uri="{C3380CC4-5D6E-409C-BE32-E72D297353CC}">
              <c16:uniqueId val="{00000008-EB21-494F-95A4-9B9696A76390}"/>
            </c:ext>
          </c:extLst>
        </c:ser>
        <c:dLbls>
          <c:dLblPos val="outEnd"/>
          <c:showLegendKey val="0"/>
          <c:showVal val="1"/>
          <c:showCatName val="0"/>
          <c:showSerName val="0"/>
          <c:showPercent val="0"/>
          <c:showBubbleSize val="0"/>
        </c:dLbls>
        <c:gapWidth val="219"/>
        <c:overlap val="-27"/>
        <c:axId val="617936583"/>
        <c:axId val="617938551"/>
      </c:barChart>
      <c:catAx>
        <c:axId val="6179365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crossAx val="617938551"/>
        <c:crosses val="autoZero"/>
        <c:auto val="1"/>
        <c:lblAlgn val="ctr"/>
        <c:lblOffset val="100"/>
        <c:noMultiLvlLbl val="0"/>
      </c:catAx>
      <c:valAx>
        <c:axId val="617938551"/>
        <c:scaling>
          <c:orientation val="minMax"/>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1A1918"/>
                </a:solidFill>
                <a:latin typeface="+mn-lt"/>
                <a:ea typeface="+mn-ea"/>
                <a:cs typeface="+mn-cs"/>
              </a:defRPr>
            </a:pPr>
            <a:endParaRPr lang="zh-CN"/>
          </a:p>
        </c:txPr>
        <c:crossAx val="617936583"/>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70219334589747"/>
          <c:y val="5.3634744622848632E-2"/>
          <c:w val="0.8672978066541025"/>
          <c:h val="0.61079545357042708"/>
        </c:manualLayout>
      </c:layout>
      <c:barChart>
        <c:barDir val="col"/>
        <c:grouping val="clustered"/>
        <c:varyColors val="0"/>
        <c:ser>
          <c:idx val="0"/>
          <c:order val="0"/>
          <c:tx>
            <c:strRef>
              <c:f>Sheet1!$B$1</c:f>
              <c:strCache>
                <c:ptCount val="1"/>
                <c:pt idx="0">
                  <c:v>系列 1</c:v>
                </c:pt>
              </c:strCache>
            </c:strRef>
          </c:tx>
          <c:spPr>
            <a:solidFill>
              <a:schemeClr val="accent1"/>
            </a:solidFill>
            <a:ln>
              <a:noFill/>
            </a:ln>
            <a:effectLst/>
          </c:spPr>
          <c:invertIfNegative val="0"/>
          <c:dPt>
            <c:idx val="0"/>
            <c:invertIfNegative val="0"/>
            <c:bubble3D val="0"/>
            <c:spPr>
              <a:solidFill>
                <a:srgbClr val="7F7F7F"/>
              </a:solidFill>
              <a:ln>
                <a:noFill/>
              </a:ln>
              <a:effectLst/>
            </c:spPr>
            <c:extLst>
              <c:ext xmlns:c16="http://schemas.microsoft.com/office/drawing/2014/chart" uri="{C3380CC4-5D6E-409C-BE32-E72D297353CC}">
                <c16:uniqueId val="{00000001-DC66-4E19-AB1F-04B207711698}"/>
              </c:ext>
            </c:extLst>
          </c:dPt>
          <c:dPt>
            <c:idx val="1"/>
            <c:invertIfNegative val="0"/>
            <c:bubble3D val="0"/>
            <c:spPr>
              <a:solidFill>
                <a:srgbClr val="F3A7AA"/>
              </a:solidFill>
              <a:ln>
                <a:noFill/>
              </a:ln>
              <a:effectLst/>
            </c:spPr>
            <c:extLst>
              <c:ext xmlns:c16="http://schemas.microsoft.com/office/drawing/2014/chart" uri="{C3380CC4-5D6E-409C-BE32-E72D297353CC}">
                <c16:uniqueId val="{00000003-DC66-4E19-AB1F-04B207711698}"/>
              </c:ext>
            </c:extLst>
          </c:dPt>
          <c:dPt>
            <c:idx val="2"/>
            <c:invertIfNegative val="0"/>
            <c:bubble3D val="0"/>
            <c:spPr>
              <a:solidFill>
                <a:srgbClr val="F3A7AA"/>
              </a:solidFill>
              <a:ln>
                <a:noFill/>
              </a:ln>
              <a:effectLst/>
            </c:spPr>
            <c:extLst>
              <c:ext xmlns:c16="http://schemas.microsoft.com/office/drawing/2014/chart" uri="{C3380CC4-5D6E-409C-BE32-E72D297353CC}">
                <c16:uniqueId val="{00000005-DC66-4E19-AB1F-04B207711698}"/>
              </c:ext>
            </c:extLst>
          </c:dPt>
          <c:dPt>
            <c:idx val="3"/>
            <c:invertIfNegative val="0"/>
            <c:bubble3D val="0"/>
            <c:spPr>
              <a:solidFill>
                <a:schemeClr val="accent1">
                  <a:lumMod val="60000"/>
                  <a:lumOff val="40000"/>
                </a:schemeClr>
              </a:solidFill>
              <a:ln>
                <a:noFill/>
              </a:ln>
              <a:effectLst/>
            </c:spPr>
            <c:extLst>
              <c:ext xmlns:c16="http://schemas.microsoft.com/office/drawing/2014/chart" uri="{C3380CC4-5D6E-409C-BE32-E72D297353CC}">
                <c16:uniqueId val="{00000007-DC66-4E19-AB1F-04B207711698}"/>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1A1918"/>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启动治疗前</c:v>
                </c:pt>
                <c:pt idx="1">
                  <c:v>D0至末次随访</c:v>
                </c:pt>
              </c:strCache>
            </c:strRef>
          </c:cat>
          <c:val>
            <c:numRef>
              <c:f>Sheet1!$B$2:$B$3</c:f>
              <c:numCache>
                <c:formatCode>General</c:formatCode>
                <c:ptCount val="2"/>
                <c:pt idx="0">
                  <c:v>2.2999999999999998</c:v>
                </c:pt>
                <c:pt idx="1">
                  <c:v>0.1</c:v>
                </c:pt>
              </c:numCache>
            </c:numRef>
          </c:val>
          <c:extLst>
            <c:ext xmlns:c16="http://schemas.microsoft.com/office/drawing/2014/chart" uri="{C3380CC4-5D6E-409C-BE32-E72D297353CC}">
              <c16:uniqueId val="{00000008-DC66-4E19-AB1F-04B207711698}"/>
            </c:ext>
          </c:extLst>
        </c:ser>
        <c:dLbls>
          <c:dLblPos val="outEnd"/>
          <c:showLegendKey val="0"/>
          <c:showVal val="1"/>
          <c:showCatName val="0"/>
          <c:showSerName val="0"/>
          <c:showPercent val="0"/>
          <c:showBubbleSize val="0"/>
        </c:dLbls>
        <c:gapWidth val="219"/>
        <c:overlap val="-27"/>
        <c:axId val="617936583"/>
        <c:axId val="617938551"/>
      </c:barChart>
      <c:catAx>
        <c:axId val="6179365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1A1918"/>
                </a:solidFill>
                <a:latin typeface="微软雅黑" panose="020B0503020204020204" pitchFamily="34" charset="-122"/>
                <a:ea typeface="微软雅黑" panose="020B0503020204020204" pitchFamily="34" charset="-122"/>
                <a:cs typeface="+mn-cs"/>
              </a:defRPr>
            </a:pPr>
            <a:endParaRPr lang="zh-CN"/>
          </a:p>
        </c:txPr>
        <c:crossAx val="617938551"/>
        <c:crosses val="autoZero"/>
        <c:auto val="1"/>
        <c:lblAlgn val="ctr"/>
        <c:lblOffset val="100"/>
        <c:noMultiLvlLbl val="0"/>
      </c:catAx>
      <c:valAx>
        <c:axId val="617938551"/>
        <c:scaling>
          <c:orientation val="minMax"/>
        </c:scaling>
        <c:delete val="1"/>
        <c:axPos val="l"/>
        <c:numFmt formatCode="#,##0_);[Red]\(#,##0\)" sourceLinked="0"/>
        <c:majorTickMark val="out"/>
        <c:minorTickMark val="none"/>
        <c:tickLblPos val="nextTo"/>
        <c:crossAx val="617936583"/>
        <c:crosses val="autoZero"/>
        <c:crossBetween val="between"/>
        <c:majorUnit val="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系列 1</c:v>
                </c:pt>
              </c:strCache>
            </c:strRef>
          </c:tx>
          <c:spPr>
            <a:solidFill>
              <a:schemeClr val="accent2"/>
            </a:solidFill>
            <a:ln>
              <a:noFill/>
            </a:ln>
            <a:effectLst/>
          </c:spPr>
          <c:invertIfNegative val="0"/>
          <c:dPt>
            <c:idx val="0"/>
            <c:invertIfNegative val="0"/>
            <c:bubble3D val="0"/>
            <c:spPr>
              <a:solidFill>
                <a:schemeClr val="accent2"/>
              </a:solidFill>
              <a:ln>
                <a:noFill/>
              </a:ln>
              <a:effectLst/>
            </c:spPr>
            <c:extLst>
              <c:ext xmlns:c16="http://schemas.microsoft.com/office/drawing/2014/chart" uri="{C3380CC4-5D6E-409C-BE32-E72D297353CC}">
                <c16:uniqueId val="{00000001-045C-4825-96BE-D4F8F1A4459D}"/>
              </c:ext>
            </c:extLst>
          </c:dPt>
          <c:dPt>
            <c:idx val="2"/>
            <c:invertIfNegative val="0"/>
            <c:bubble3D val="0"/>
            <c:spPr>
              <a:solidFill>
                <a:schemeClr val="accent2"/>
              </a:solidFill>
              <a:ln>
                <a:noFill/>
              </a:ln>
              <a:effectLst/>
            </c:spPr>
            <c:extLst>
              <c:ext xmlns:c16="http://schemas.microsoft.com/office/drawing/2014/chart" uri="{C3380CC4-5D6E-409C-BE32-E72D297353CC}">
                <c16:uniqueId val="{00000003-045C-4825-96BE-D4F8F1A4459D}"/>
              </c:ext>
            </c:extLst>
          </c:dPt>
          <c:dPt>
            <c:idx val="3"/>
            <c:invertIfNegative val="0"/>
            <c:bubble3D val="0"/>
            <c:spPr>
              <a:solidFill>
                <a:schemeClr val="accent2"/>
              </a:solidFill>
              <a:ln>
                <a:noFill/>
              </a:ln>
              <a:effectLst/>
            </c:spPr>
            <c:extLst>
              <c:ext xmlns:c16="http://schemas.microsoft.com/office/drawing/2014/chart" uri="{C3380CC4-5D6E-409C-BE32-E72D297353CC}">
                <c16:uniqueId val="{00000005-045C-4825-96BE-D4F8F1A4459D}"/>
              </c:ext>
            </c:extLst>
          </c:dPt>
          <c:dLbls>
            <c:dLbl>
              <c:idx val="0"/>
              <c:layout>
                <c:manualLayout>
                  <c:x val="8.8102655670223243E-3"/>
                  <c:y val="4.358762537019451E-3"/>
                </c:manualLayout>
              </c:layout>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1A1918"/>
                      </a:solidFill>
                      <a:latin typeface="+mn-lt"/>
                      <a:ea typeface="+mn-ea"/>
                      <a:cs typeface="+mn-cs"/>
                    </a:defRPr>
                  </a:pPr>
                  <a:endParaRPr lang="zh-CN"/>
                </a:p>
              </c:txPr>
              <c:dLblPos val="outEnd"/>
              <c:showLegendKey val="0"/>
              <c:showVal val="1"/>
              <c:showCatName val="0"/>
              <c:showSerName val="0"/>
              <c:showPercent val="0"/>
              <c:showBubbleSize val="0"/>
              <c:extLst>
                <c:ext xmlns:c15="http://schemas.microsoft.com/office/drawing/2012/chart" uri="{CE6537A1-D6FC-4f65-9D91-7224C49458BB}">
                  <c15:layout>
                    <c:manualLayout>
                      <c:w val="0.36685403352070012"/>
                      <c:h val="0.1404393289427667"/>
                    </c:manualLayout>
                  </c15:layout>
                </c:ext>
                <c:ext xmlns:c16="http://schemas.microsoft.com/office/drawing/2014/chart" uri="{C3380CC4-5D6E-409C-BE32-E72D297353CC}">
                  <c16:uniqueId val="{00000001-045C-4825-96BE-D4F8F1A4459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1A1918"/>
                    </a:solidFill>
                    <a:latin typeface="+mn-lt"/>
                    <a:ea typeface="+mn-ea"/>
                    <a:cs typeface="+mn-cs"/>
                  </a:defRPr>
                </a:pPr>
                <a:endParaRPr lang="zh-CN"/>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D0至末次随访，无发作</c:v>
                </c:pt>
              </c:strCache>
            </c:strRef>
          </c:cat>
          <c:val>
            <c:numRef>
              <c:f>Sheet1!$B$2</c:f>
              <c:numCache>
                <c:formatCode>0.00%</c:formatCode>
                <c:ptCount val="1"/>
                <c:pt idx="0">
                  <c:v>0.69599999999999995</c:v>
                </c:pt>
              </c:numCache>
            </c:numRef>
          </c:val>
          <c:extLst>
            <c:ext xmlns:c16="http://schemas.microsoft.com/office/drawing/2014/chart" uri="{C3380CC4-5D6E-409C-BE32-E72D297353CC}">
              <c16:uniqueId val="{00000006-045C-4825-96BE-D4F8F1A4459D}"/>
            </c:ext>
          </c:extLst>
        </c:ser>
        <c:dLbls>
          <c:dLblPos val="outEnd"/>
          <c:showLegendKey val="0"/>
          <c:showVal val="1"/>
          <c:showCatName val="0"/>
          <c:showSerName val="0"/>
          <c:showPercent val="0"/>
          <c:showBubbleSize val="0"/>
        </c:dLbls>
        <c:gapWidth val="219"/>
        <c:overlap val="-27"/>
        <c:axId val="617936583"/>
        <c:axId val="617938551"/>
      </c:barChart>
      <c:catAx>
        <c:axId val="6179365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rgbClr val="F9F9F9"/>
                </a:solidFill>
                <a:latin typeface="微软雅黑" panose="020B0503020204020204" pitchFamily="34" charset="-122"/>
                <a:ea typeface="微软雅黑" panose="020B0503020204020204" pitchFamily="34" charset="-122"/>
                <a:cs typeface="+mn-cs"/>
              </a:defRPr>
            </a:pPr>
            <a:endParaRPr lang="zh-CN"/>
          </a:p>
        </c:txPr>
        <c:crossAx val="617938551"/>
        <c:crosses val="autoZero"/>
        <c:auto val="1"/>
        <c:lblAlgn val="ctr"/>
        <c:lblOffset val="100"/>
        <c:noMultiLvlLbl val="0"/>
      </c:catAx>
      <c:valAx>
        <c:axId val="617938551"/>
        <c:scaling>
          <c:orientation val="minMax"/>
          <c:max val="1"/>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rgbClr val="1A1918"/>
                </a:solidFill>
                <a:latin typeface="+mn-lt"/>
                <a:ea typeface="+mn-ea"/>
                <a:cs typeface="+mn-cs"/>
              </a:defRPr>
            </a:pPr>
            <a:endParaRPr lang="zh-CN"/>
          </a:p>
        </c:txPr>
        <c:crossAx val="617936583"/>
        <c:crosses val="autoZero"/>
        <c:crossBetween val="between"/>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4">
  <a:schemeClr val="accent1"/>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9100" cy="498693"/>
          </a:xfrm>
          <a:prstGeom prst="rect">
            <a:avLst/>
          </a:prstGeom>
        </p:spPr>
        <p:txBody>
          <a:bodyPr vert="horz" lIns="94640" tIns="47320" rIns="94640" bIns="47320" rtlCol="0"/>
          <a:lstStyle>
            <a:lvl1pPr algn="l">
              <a:defRPr sz="1200"/>
            </a:lvl1pPr>
          </a:lstStyle>
          <a:p>
            <a:endParaRPr lang="en-US"/>
          </a:p>
        </p:txBody>
      </p:sp>
      <p:sp>
        <p:nvSpPr>
          <p:cNvPr id="3" name="Date Placeholder 2"/>
          <p:cNvSpPr>
            <a:spLocks noGrp="1"/>
          </p:cNvSpPr>
          <p:nvPr>
            <p:ph type="dt" idx="1"/>
          </p:nvPr>
        </p:nvSpPr>
        <p:spPr>
          <a:xfrm>
            <a:off x="3854939" y="1"/>
            <a:ext cx="2949100" cy="498693"/>
          </a:xfrm>
          <a:prstGeom prst="rect">
            <a:avLst/>
          </a:prstGeom>
        </p:spPr>
        <p:txBody>
          <a:bodyPr vert="horz" lIns="94640" tIns="47320" rIns="94640" bIns="47320" rtlCol="0"/>
          <a:lstStyle>
            <a:lvl1pPr algn="r">
              <a:defRPr sz="1200"/>
            </a:lvl1pPr>
          </a:lstStyle>
          <a:p>
            <a:fld id="{625DEF87-78CF-4C57-A0B1-A9406068048C}" type="datetimeFigureOut">
              <a:rPr lang="en-US" smtClean="0"/>
              <a:t>7/14/2022</a:t>
            </a:fld>
            <a:endParaRPr lang="en-US"/>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4640" tIns="47320" rIns="94640" bIns="47320" rtlCol="0" anchor="ctr"/>
          <a:lstStyle/>
          <a:p>
            <a:endParaRPr lang="en-US"/>
          </a:p>
        </p:txBody>
      </p:sp>
      <p:sp>
        <p:nvSpPr>
          <p:cNvPr id="5" name="Notes Placeholder 4"/>
          <p:cNvSpPr>
            <a:spLocks noGrp="1"/>
          </p:cNvSpPr>
          <p:nvPr>
            <p:ph type="body" sz="quarter" idx="3"/>
          </p:nvPr>
        </p:nvSpPr>
        <p:spPr>
          <a:xfrm>
            <a:off x="680562" y="4783307"/>
            <a:ext cx="5444490" cy="3913615"/>
          </a:xfrm>
          <a:prstGeom prst="rect">
            <a:avLst/>
          </a:prstGeom>
        </p:spPr>
        <p:txBody>
          <a:bodyPr vert="horz" lIns="94640" tIns="47320" rIns="94640" bIns="473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100" cy="498692"/>
          </a:xfrm>
          <a:prstGeom prst="rect">
            <a:avLst/>
          </a:prstGeom>
        </p:spPr>
        <p:txBody>
          <a:bodyPr vert="horz" lIns="94640" tIns="47320" rIns="94640" bIns="47320" rtlCol="0" anchor="b"/>
          <a:lstStyle>
            <a:lvl1pPr algn="l">
              <a:defRPr sz="1200"/>
            </a:lvl1pPr>
          </a:lstStyle>
          <a:p>
            <a:endParaRPr lang="en-US"/>
          </a:p>
        </p:txBody>
      </p:sp>
      <p:sp>
        <p:nvSpPr>
          <p:cNvPr id="7" name="Slide Number Placeholder 6"/>
          <p:cNvSpPr>
            <a:spLocks noGrp="1"/>
          </p:cNvSpPr>
          <p:nvPr>
            <p:ph type="sldNum" sz="quarter" idx="5"/>
          </p:nvPr>
        </p:nvSpPr>
        <p:spPr>
          <a:xfrm>
            <a:off x="3854939" y="9440647"/>
            <a:ext cx="2949100" cy="498692"/>
          </a:xfrm>
          <a:prstGeom prst="rect">
            <a:avLst/>
          </a:prstGeom>
        </p:spPr>
        <p:txBody>
          <a:bodyPr vert="horz" lIns="94640" tIns="47320" rIns="94640" bIns="47320" rtlCol="0" anchor="b"/>
          <a:lstStyle>
            <a:lvl1pPr algn="r">
              <a:defRPr sz="1200"/>
            </a:lvl1pPr>
          </a:lstStyle>
          <a:p>
            <a:fld id="{49E0EA7B-6822-4EC8-8C65-EACC542A1394}" type="slidenum">
              <a:rPr lang="en-US" smtClean="0"/>
              <a:t>‹#›</a:t>
            </a:fld>
            <a:endParaRPr lang="en-US"/>
          </a:p>
        </p:txBody>
      </p:sp>
    </p:spTree>
    <p:extLst>
      <p:ext uri="{BB962C8B-B14F-4D97-AF65-F5344CB8AC3E}">
        <p14:creationId xmlns:p14="http://schemas.microsoft.com/office/powerpoint/2010/main" val="258459191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JP"/>
          </a:p>
        </p:txBody>
      </p:sp>
      <p:sp>
        <p:nvSpPr>
          <p:cNvPr id="4" name="Slide Number Placeholder 3"/>
          <p:cNvSpPr>
            <a:spLocks noGrp="1"/>
          </p:cNvSpPr>
          <p:nvPr>
            <p:ph type="sldNum" sz="quarter" idx="5"/>
          </p:nvPr>
        </p:nvSpPr>
        <p:spPr/>
        <p:txBody>
          <a:bodyPr/>
          <a:lstStyle/>
          <a:p>
            <a:fld id="{49E0EA7B-6822-4EC8-8C65-EACC542A1394}" type="slidenum">
              <a:rPr lang="en-US" smtClean="0"/>
              <a:t>1</a:t>
            </a:fld>
            <a:endParaRPr lang="en-US"/>
          </a:p>
        </p:txBody>
      </p:sp>
    </p:spTree>
    <p:extLst>
      <p:ext uri="{BB962C8B-B14F-4D97-AF65-F5344CB8AC3E}">
        <p14:creationId xmlns:p14="http://schemas.microsoft.com/office/powerpoint/2010/main" val="12119405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2</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4793261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3</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26034458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4</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36947856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5</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21018003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6</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18760582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7</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31760450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8</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20963694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46404">
              <a:defRPr/>
            </a:pPr>
            <a:fld id="{CEDB620F-9065-4E0D-8D9D-4F204AB69C9B}" type="slidenum">
              <a:rPr kumimoji="1" lang="ja-JP" altLang="en-US">
                <a:solidFill>
                  <a:prstClr val="black"/>
                </a:solidFill>
                <a:latin typeface="Calibri" panose="020F0502020204030204"/>
                <a:ea typeface="游ゴシック" panose="020B0400000000000000" pitchFamily="50" charset="-128"/>
              </a:rPr>
              <a:pPr defTabSz="946404">
                <a:defRPr/>
              </a:pPr>
              <a:t>9</a:t>
            </a:fld>
            <a:endParaRPr kumimoji="1" lang="ja-JP" altLang="en-US">
              <a:solidFill>
                <a:prstClr val="black"/>
              </a:solidFill>
              <a:latin typeface="Calibri" panose="020F0502020204030204"/>
              <a:ea typeface="游ゴシック" panose="020B0400000000000000" pitchFamily="50" charset="-128"/>
            </a:endParaRPr>
          </a:p>
        </p:txBody>
      </p:sp>
    </p:spTree>
    <p:extLst>
      <p:ext uri="{BB962C8B-B14F-4D97-AF65-F5344CB8AC3E}">
        <p14:creationId xmlns:p14="http://schemas.microsoft.com/office/powerpoint/2010/main" val="3692729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age 1">
    <p:spTree>
      <p:nvGrpSpPr>
        <p:cNvPr id="1" name=""/>
        <p:cNvGrpSpPr/>
        <p:nvPr/>
      </p:nvGrpSpPr>
      <p:grpSpPr>
        <a:xfrm>
          <a:off x="0" y="0"/>
          <a:ext cx="0" cy="0"/>
          <a:chOff x="0" y="0"/>
          <a:chExt cx="0" cy="0"/>
        </a:xfrm>
      </p:grpSpPr>
      <p:sp>
        <p:nvSpPr>
          <p:cNvPr id="6" name="Rectangle 6">
            <a:extLst>
              <a:ext uri="{FF2B5EF4-FFF2-40B4-BE49-F238E27FC236}">
                <a16:creationId xmlns:a16="http://schemas.microsoft.com/office/drawing/2014/main" id="{82B9CECE-7D8F-8C4A-AFC6-A963B1F05594}"/>
              </a:ext>
            </a:extLst>
          </p:cNvPr>
          <p:cNvSpPr/>
          <p:nvPr userDrawn="1"/>
        </p:nvSpPr>
        <p:spPr>
          <a:xfrm>
            <a:off x="0" y="61263"/>
            <a:ext cx="255181" cy="849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chemeClr val="accent1"/>
              </a:solidFill>
            </a:endParaRPr>
          </a:p>
        </p:txBody>
      </p:sp>
      <p:sp>
        <p:nvSpPr>
          <p:cNvPr id="10" name="Picture Placeholder 9">
            <a:extLst>
              <a:ext uri="{FF2B5EF4-FFF2-40B4-BE49-F238E27FC236}">
                <a16:creationId xmlns:a16="http://schemas.microsoft.com/office/drawing/2014/main" id="{91E79114-5B74-9547-8292-DAB8965D43FD}"/>
              </a:ext>
            </a:extLst>
          </p:cNvPr>
          <p:cNvSpPr>
            <a:spLocks noGrp="1"/>
          </p:cNvSpPr>
          <p:nvPr>
            <p:ph type="pic" sz="quarter" idx="10"/>
          </p:nvPr>
        </p:nvSpPr>
        <p:spPr>
          <a:xfrm>
            <a:off x="749005" y="506"/>
            <a:ext cx="11459359" cy="3428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2246">
                <a:moveTo>
                  <a:pt x="0" y="1652"/>
                </a:moveTo>
                <a:lnTo>
                  <a:pt x="11459359" y="0"/>
                </a:lnTo>
                <a:cubicBezTo>
                  <a:pt x="11456406" y="1115201"/>
                  <a:pt x="11441877" y="2245391"/>
                  <a:pt x="11438924" y="3360592"/>
                </a:cubicBezTo>
                <a:lnTo>
                  <a:pt x="579722" y="3362246"/>
                </a:lnTo>
                <a:cubicBezTo>
                  <a:pt x="259550" y="3362246"/>
                  <a:pt x="0" y="3102696"/>
                  <a:pt x="0" y="2782524"/>
                </a:cubicBezTo>
                <a:lnTo>
                  <a:pt x="0" y="1652"/>
                </a:lnTo>
                <a:close/>
              </a:path>
            </a:pathLst>
          </a:custGeom>
          <a:noFill/>
        </p:spPr>
        <p:txBody>
          <a:bodyPr/>
          <a:lstStyle>
            <a:lvl1pPr marL="0" indent="0">
              <a:buNone/>
              <a:defRPr sz="2400">
                <a:solidFill>
                  <a:schemeClr val="bg1"/>
                </a:solidFill>
              </a:defRPr>
            </a:lvl1pPr>
          </a:lstStyle>
          <a:p>
            <a:r>
              <a:rPr lang="zh-CN" altLang="en-US"/>
              <a:t>单击图标添加图片</a:t>
            </a:r>
            <a:endParaRPr lang="en-JP"/>
          </a:p>
        </p:txBody>
      </p:sp>
      <p:pic>
        <p:nvPicPr>
          <p:cNvPr id="18" name="Picture 17" descr="Takeda">
            <a:extLst>
              <a:ext uri="{FF2B5EF4-FFF2-40B4-BE49-F238E27FC236}">
                <a16:creationId xmlns:a16="http://schemas.microsoft.com/office/drawing/2014/main" id="{5F9376FC-2A9F-C644-AD88-C6E1B65B4D9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9790516" y="3362752"/>
            <a:ext cx="2251710" cy="1248865"/>
          </a:xfrm>
          <a:prstGeom prst="rect">
            <a:avLst/>
          </a:prstGeom>
        </p:spPr>
      </p:pic>
      <p:sp>
        <p:nvSpPr>
          <p:cNvPr id="15" name="Title 1">
            <a:extLst>
              <a:ext uri="{FF2B5EF4-FFF2-40B4-BE49-F238E27FC236}">
                <a16:creationId xmlns:a16="http://schemas.microsoft.com/office/drawing/2014/main" id="{9F5E8E0A-41D4-8346-9248-0B9AAC71238D}"/>
              </a:ext>
            </a:extLst>
          </p:cNvPr>
          <p:cNvSpPr>
            <a:spLocks noGrp="1"/>
          </p:cNvSpPr>
          <p:nvPr>
            <p:ph type="ctrTitle" hasCustomPrompt="1"/>
          </p:nvPr>
        </p:nvSpPr>
        <p:spPr>
          <a:xfrm>
            <a:off x="1194730" y="3956816"/>
            <a:ext cx="7699670" cy="1015681"/>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a:t>
            </a:r>
            <a:br>
              <a:rPr lang="en-GB"/>
            </a:br>
            <a:r>
              <a:rPr lang="en-GB"/>
              <a:t>Title</a:t>
            </a:r>
          </a:p>
        </p:txBody>
      </p:sp>
      <p:sp>
        <p:nvSpPr>
          <p:cNvPr id="17" name="Rectangle 16">
            <a:extLst>
              <a:ext uri="{FF2B5EF4-FFF2-40B4-BE49-F238E27FC236}">
                <a16:creationId xmlns:a16="http://schemas.microsoft.com/office/drawing/2014/main" id="{F5A63B8E-5554-A04E-B4C5-97ECEE58B6CC}"/>
              </a:ext>
            </a:extLst>
          </p:cNvPr>
          <p:cNvSpPr/>
          <p:nvPr userDrawn="1"/>
        </p:nvSpPr>
        <p:spPr>
          <a:xfrm>
            <a:off x="749005" y="3764031"/>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pic>
        <p:nvPicPr>
          <p:cNvPr id="21" name="Picture 20">
            <a:extLst>
              <a:ext uri="{FF2B5EF4-FFF2-40B4-BE49-F238E27FC236}">
                <a16:creationId xmlns:a16="http://schemas.microsoft.com/office/drawing/2014/main" id="{C2637423-F180-3943-B758-C8CCFA816E0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sp>
        <p:nvSpPr>
          <p:cNvPr id="23" name="Text Placeholder 2">
            <a:extLst>
              <a:ext uri="{FF2B5EF4-FFF2-40B4-BE49-F238E27FC236}">
                <a16:creationId xmlns:a16="http://schemas.microsoft.com/office/drawing/2014/main" id="{F7327E43-4F43-914D-BE65-DB0ADB5A5E11}"/>
              </a:ext>
            </a:extLst>
          </p:cNvPr>
          <p:cNvSpPr>
            <a:spLocks noGrp="1"/>
          </p:cNvSpPr>
          <p:nvPr>
            <p:ph type="body" sz="quarter" idx="23" hasCustomPrompt="1"/>
          </p:nvPr>
        </p:nvSpPr>
        <p:spPr>
          <a:xfrm>
            <a:off x="1194728" y="5256031"/>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24" name="Text Placeholder 2">
            <a:extLst>
              <a:ext uri="{FF2B5EF4-FFF2-40B4-BE49-F238E27FC236}">
                <a16:creationId xmlns:a16="http://schemas.microsoft.com/office/drawing/2014/main" id="{4A23AA60-6137-8841-B2ED-51B2F2E5C1BB}"/>
              </a:ext>
            </a:extLst>
          </p:cNvPr>
          <p:cNvSpPr>
            <a:spLocks noGrp="1"/>
          </p:cNvSpPr>
          <p:nvPr>
            <p:ph type="body" sz="quarter" idx="24" hasCustomPrompt="1"/>
          </p:nvPr>
        </p:nvSpPr>
        <p:spPr>
          <a:xfrm>
            <a:off x="1194728" y="5515045"/>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25" name="Text Placeholder 2">
            <a:extLst>
              <a:ext uri="{FF2B5EF4-FFF2-40B4-BE49-F238E27FC236}">
                <a16:creationId xmlns:a16="http://schemas.microsoft.com/office/drawing/2014/main" id="{BB4FEAB2-22C6-3446-B4D2-5B610A729BCC}"/>
              </a:ext>
            </a:extLst>
          </p:cNvPr>
          <p:cNvSpPr>
            <a:spLocks noGrp="1"/>
          </p:cNvSpPr>
          <p:nvPr>
            <p:ph type="body" sz="quarter" idx="25" hasCustomPrompt="1"/>
          </p:nvPr>
        </p:nvSpPr>
        <p:spPr>
          <a:xfrm>
            <a:off x="1194728" y="5769532"/>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28" name="Text Placeholder 2">
            <a:extLst>
              <a:ext uri="{FF2B5EF4-FFF2-40B4-BE49-F238E27FC236}">
                <a16:creationId xmlns:a16="http://schemas.microsoft.com/office/drawing/2014/main" id="{4085F378-E668-A648-B7B1-8C76C309ED6D}"/>
              </a:ext>
            </a:extLst>
          </p:cNvPr>
          <p:cNvSpPr>
            <a:spLocks noGrp="1"/>
          </p:cNvSpPr>
          <p:nvPr>
            <p:ph type="body" sz="quarter" idx="26" hasCustomPrompt="1"/>
          </p:nvPr>
        </p:nvSpPr>
        <p:spPr>
          <a:xfrm>
            <a:off x="1194728" y="4997510"/>
            <a:ext cx="7699670"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
        <p:nvSpPr>
          <p:cNvPr id="13" name="Text Placeholder 2">
            <a:extLst>
              <a:ext uri="{FF2B5EF4-FFF2-40B4-BE49-F238E27FC236}">
                <a16:creationId xmlns:a16="http://schemas.microsoft.com/office/drawing/2014/main" id="{C1E31EF6-BED5-C14F-94AD-4E5C55B85515}"/>
              </a:ext>
            </a:extLst>
          </p:cNvPr>
          <p:cNvSpPr>
            <a:spLocks noGrp="1"/>
          </p:cNvSpPr>
          <p:nvPr>
            <p:ph type="body" sz="quarter" idx="16" hasCustomPrompt="1"/>
          </p:nvPr>
        </p:nvSpPr>
        <p:spPr>
          <a:xfrm>
            <a:off x="1194728" y="6027352"/>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3934642810"/>
      </p:ext>
    </p:extLst>
  </p:cSld>
  <p:clrMapOvr>
    <a:masterClrMapping/>
  </p:clrMapOvr>
  <p:transition spd="slow">
    <p:push dir="u"/>
  </p:transition>
  <p:extLst>
    <p:ext uri="{DCECCB84-F9BA-43D5-87BE-67443E8EF086}">
      <p15:sldGuideLst xmlns:p15="http://schemas.microsoft.com/office/powerpoint/2012/main">
        <p15:guide id="1" orient="horz" pos="4065" userDrawn="1">
          <p15:clr>
            <a:srgbClr val="FBAE40"/>
          </p15:clr>
        </p15:guide>
        <p15:guide id="2" orient="horz" pos="2364" userDrawn="1">
          <p15:clr>
            <a:srgbClr val="FBAE40"/>
          </p15:clr>
        </p15:guide>
        <p15:guide id="3" orient="horz" pos="21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Advanced _1/2 image">
    <p:spTree>
      <p:nvGrpSpPr>
        <p:cNvPr id="1" name=""/>
        <p:cNvGrpSpPr/>
        <p:nvPr/>
      </p:nvGrpSpPr>
      <p:grpSpPr>
        <a:xfrm>
          <a:off x="0" y="0"/>
          <a:ext cx="0" cy="0"/>
          <a:chOff x="0" y="0"/>
          <a:chExt cx="0" cy="0"/>
        </a:xfrm>
      </p:grpSpPr>
      <p:sp>
        <p:nvSpPr>
          <p:cNvPr id="20" name="Footer Placeholder 8">
            <a:extLst>
              <a:ext uri="{FF2B5EF4-FFF2-40B4-BE49-F238E27FC236}">
                <a16:creationId xmlns:a16="http://schemas.microsoft.com/office/drawing/2014/main" id="{8D5F5577-3F64-2049-A839-8C5C39554B5C}"/>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904398E7-B0E3-B743-AAB2-5FEBF510E97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1" name="Picture Placeholder 9">
            <a:extLst>
              <a:ext uri="{FF2B5EF4-FFF2-40B4-BE49-F238E27FC236}">
                <a16:creationId xmlns:a16="http://schemas.microsoft.com/office/drawing/2014/main" id="{2AD9E95A-6959-B64E-ADF8-64DD679B9345}"/>
              </a:ext>
            </a:extLst>
          </p:cNvPr>
          <p:cNvSpPr>
            <a:spLocks noGrp="1"/>
          </p:cNvSpPr>
          <p:nvPr>
            <p:ph type="pic" sz="quarter" idx="18" hasCustomPrompt="1"/>
          </p:nvPr>
        </p:nvSpPr>
        <p:spPr>
          <a:xfrm>
            <a:off x="6172202" y="1093767"/>
            <a:ext cx="6037636" cy="534175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37636" h="5135028">
                <a:moveTo>
                  <a:pt x="0" y="0"/>
                </a:moveTo>
                <a:lnTo>
                  <a:pt x="6028853" y="7569"/>
                </a:lnTo>
                <a:cubicBezTo>
                  <a:pt x="6029758" y="2154376"/>
                  <a:pt x="6036731" y="2988221"/>
                  <a:pt x="6037636"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8" name="Text Placeholder 6">
            <a:extLst>
              <a:ext uri="{FF2B5EF4-FFF2-40B4-BE49-F238E27FC236}">
                <a16:creationId xmlns:a16="http://schemas.microsoft.com/office/drawing/2014/main" id="{D1F67940-C534-7E4A-ACD3-D94AF5FFD3CA}"/>
              </a:ext>
            </a:extLst>
          </p:cNvPr>
          <p:cNvSpPr>
            <a:spLocks noGrp="1"/>
          </p:cNvSpPr>
          <p:nvPr>
            <p:ph type="body" sz="quarter" idx="14" hasCustomPrompt="1"/>
          </p:nvPr>
        </p:nvSpPr>
        <p:spPr>
          <a:xfrm>
            <a:off x="311150" y="3178298"/>
            <a:ext cx="5708650" cy="272786"/>
          </a:xfr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21" name="Text Placeholder 6">
            <a:extLst>
              <a:ext uri="{FF2B5EF4-FFF2-40B4-BE49-F238E27FC236}">
                <a16:creationId xmlns:a16="http://schemas.microsoft.com/office/drawing/2014/main" id="{7763AA1A-832E-D147-B41F-806ECDE44A60}"/>
              </a:ext>
            </a:extLst>
          </p:cNvPr>
          <p:cNvSpPr>
            <a:spLocks noGrp="1"/>
          </p:cNvSpPr>
          <p:nvPr>
            <p:ph type="body" sz="quarter" idx="15" hasCustomPrompt="1"/>
          </p:nvPr>
        </p:nvSpPr>
        <p:spPr>
          <a:xfrm>
            <a:off x="311150" y="3575904"/>
            <a:ext cx="5708650" cy="2859620"/>
          </a:xfr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4" name="タイトル プレースホルダ 1">
            <a:extLst>
              <a:ext uri="{FF2B5EF4-FFF2-40B4-BE49-F238E27FC236}">
                <a16:creationId xmlns:a16="http://schemas.microsoft.com/office/drawing/2014/main" id="{5150A056-0B7A-DD4A-A38C-26A39DB94DE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C23BB5B0-EC38-C74E-9B7F-D8140E54C071}"/>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42B46CEA-C682-B846-A029-CD9FE12FF72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FA0BC325-8F09-754C-A71C-82A8AF93AF41}"/>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9" name="Text Placeholder 2">
            <a:extLst>
              <a:ext uri="{FF2B5EF4-FFF2-40B4-BE49-F238E27FC236}">
                <a16:creationId xmlns:a16="http://schemas.microsoft.com/office/drawing/2014/main" id="{26121FE7-559E-0846-8166-1968C2ECA72F}"/>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30" name="Text Placeholder 6">
            <a:extLst>
              <a:ext uri="{FF2B5EF4-FFF2-40B4-BE49-F238E27FC236}">
                <a16:creationId xmlns:a16="http://schemas.microsoft.com/office/drawing/2014/main" id="{981616AD-5FCE-F341-B307-479047B75A26}"/>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393957046"/>
      </p:ext>
    </p:extLst>
  </p:cSld>
  <p:clrMapOvr>
    <a:masterClrMapping/>
  </p:clrMapOvr>
  <p:transition spd="slow">
    <p:push dir="u"/>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dvanced 1/2 Image (Full Bleed)">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DA0F537B-2380-C640-8119-936AD7786464}"/>
              </a:ext>
            </a:extLst>
          </p:cNvPr>
          <p:cNvSpPr>
            <a:spLocks noGrp="1"/>
          </p:cNvSpPr>
          <p:nvPr>
            <p:ph type="pic" sz="quarter" idx="18" hasCustomPrompt="1"/>
          </p:nvPr>
        </p:nvSpPr>
        <p:spPr>
          <a:xfrm>
            <a:off x="6185454" y="-5494"/>
            <a:ext cx="6024384" cy="6863494"/>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4384"/>
              <a:gd name="connsiteY0" fmla="*/ 0 h 6857810"/>
              <a:gd name="connsiteX1" fmla="*/ 6015601 w 6024384"/>
              <a:gd name="connsiteY1" fmla="*/ 1730351 h 6857810"/>
              <a:gd name="connsiteX2" fmla="*/ 6024384 w 6024384"/>
              <a:gd name="connsiteY2" fmla="*/ 6857810 h 6857810"/>
              <a:gd name="connsiteX3" fmla="*/ 583404 w 6024384"/>
              <a:gd name="connsiteY3" fmla="*/ 6847589 h 6857810"/>
              <a:gd name="connsiteX4" fmla="*/ 3682 w 6024384"/>
              <a:gd name="connsiteY4" fmla="*/ 6267867 h 6857810"/>
              <a:gd name="connsiteX5" fmla="*/ 0 w 6024384"/>
              <a:gd name="connsiteY5" fmla="*/ 0 h 6857810"/>
              <a:gd name="connsiteX0" fmla="*/ 0 w 6024384"/>
              <a:gd name="connsiteY0" fmla="*/ 5684 h 6863494"/>
              <a:gd name="connsiteX1" fmla="*/ 6002349 w 6024384"/>
              <a:gd name="connsiteY1" fmla="*/ 0 h 6863494"/>
              <a:gd name="connsiteX2" fmla="*/ 6024384 w 6024384"/>
              <a:gd name="connsiteY2" fmla="*/ 6863494 h 6863494"/>
              <a:gd name="connsiteX3" fmla="*/ 583404 w 6024384"/>
              <a:gd name="connsiteY3" fmla="*/ 6853273 h 6863494"/>
              <a:gd name="connsiteX4" fmla="*/ 3682 w 6024384"/>
              <a:gd name="connsiteY4" fmla="*/ 6273551 h 6863494"/>
              <a:gd name="connsiteX5" fmla="*/ 0 w 6024384"/>
              <a:gd name="connsiteY5" fmla="*/ 5684 h 6863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024384" h="6863494">
                <a:moveTo>
                  <a:pt x="0" y="5684"/>
                </a:moveTo>
                <a:lnTo>
                  <a:pt x="6002349" y="0"/>
                </a:lnTo>
                <a:cubicBezTo>
                  <a:pt x="6003254" y="2146807"/>
                  <a:pt x="6023479" y="4716687"/>
                  <a:pt x="6024384" y="6863494"/>
                </a:cubicBezTo>
                <a:lnTo>
                  <a:pt x="583404" y="6853273"/>
                </a:lnTo>
                <a:cubicBezTo>
                  <a:pt x="263232" y="6853273"/>
                  <a:pt x="3682" y="6593723"/>
                  <a:pt x="3682" y="6273551"/>
                </a:cubicBezTo>
                <a:cubicBezTo>
                  <a:pt x="-1963" y="4751114"/>
                  <a:pt x="5645" y="1528121"/>
                  <a:pt x="0" y="5684"/>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5708650" cy="2859620"/>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タイトル プレースホルダ 1">
            <a:extLst>
              <a:ext uri="{FF2B5EF4-FFF2-40B4-BE49-F238E27FC236}">
                <a16:creationId xmlns:a16="http://schemas.microsoft.com/office/drawing/2014/main" id="{86D6FEA8-06E4-474A-8491-CD1DDAE7D0D7}"/>
              </a:ext>
            </a:extLst>
          </p:cNvPr>
          <p:cNvSpPr>
            <a:spLocks noGrp="1"/>
          </p:cNvSpPr>
          <p:nvPr>
            <p:ph type="title" hasCustomPrompt="1"/>
          </p:nvPr>
        </p:nvSpPr>
        <p:spPr>
          <a:xfrm>
            <a:off x="606079" y="161605"/>
            <a:ext cx="5413722"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CEDBCF76-3461-2245-8BB1-FA50AE27F6CA}"/>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FB98B4FE-9AC1-D142-89B5-4D3791685BC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7D5A74AA-F0D3-9243-967D-FEA6F7A20BC7}"/>
              </a:ext>
            </a:extLst>
          </p:cNvPr>
          <p:cNvSpPr>
            <a:spLocks noGrp="1"/>
          </p:cNvSpPr>
          <p:nvPr>
            <p:ph type="body" sz="quarter" idx="16" hasCustomPrompt="1"/>
          </p:nvPr>
        </p:nvSpPr>
        <p:spPr>
          <a:xfrm>
            <a:off x="606078" y="6523001"/>
            <a:ext cx="5413722"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D16C870C-B0F9-5A43-81FD-66BD75CC33C7}"/>
              </a:ext>
            </a:extLst>
          </p:cNvPr>
          <p:cNvSpPr>
            <a:spLocks noGrp="1"/>
          </p:cNvSpPr>
          <p:nvPr>
            <p:ph type="body" sz="quarter" idx="20" hasCustomPrompt="1"/>
          </p:nvPr>
        </p:nvSpPr>
        <p:spPr>
          <a:xfrm>
            <a:off x="311151" y="1491373"/>
            <a:ext cx="5704886"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C64E591A-1A88-9244-AC81-5B42BFE347C0}"/>
              </a:ext>
            </a:extLst>
          </p:cNvPr>
          <p:cNvSpPr>
            <a:spLocks noGrp="1"/>
          </p:cNvSpPr>
          <p:nvPr>
            <p:ph type="body" sz="quarter" idx="21" hasCustomPrompt="1"/>
          </p:nvPr>
        </p:nvSpPr>
        <p:spPr>
          <a:xfrm>
            <a:off x="311150" y="1093767"/>
            <a:ext cx="5704886"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678310869"/>
      </p:ext>
    </p:extLst>
  </p:cSld>
  <p:clrMapOvr>
    <a:masterClrMapping/>
  </p:clrMapOvr>
  <p:transition spd="slow">
    <p:push dir="u"/>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dvanced 1/3 Imag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7660042"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36961" y="1093767"/>
            <a:ext cx="4069500" cy="5331536"/>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69500" h="5131753">
                <a:moveTo>
                  <a:pt x="0" y="6946"/>
                </a:moveTo>
                <a:lnTo>
                  <a:pt x="4069425" y="0"/>
                </a:lnTo>
                <a:cubicBezTo>
                  <a:pt x="4070330" y="2146807"/>
                  <a:pt x="4062788" y="2966138"/>
                  <a:pt x="4063693" y="5112945"/>
                </a:cubicBezTo>
                <a:lnTo>
                  <a:pt x="596656" y="5131753"/>
                </a:lnTo>
                <a:cubicBezTo>
                  <a:pt x="276484" y="5131753"/>
                  <a:pt x="16934" y="4872203"/>
                  <a:pt x="16934" y="4552031"/>
                </a:cubicBezTo>
                <a:cubicBezTo>
                  <a:pt x="11289" y="3029594"/>
                  <a:pt x="5645" y="1529383"/>
                  <a:pt x="0" y="6946"/>
                </a:cubicBezTo>
                <a:close/>
              </a:path>
            </a:pathLst>
          </a:custGeom>
          <a:noFill/>
        </p:spPr>
        <p:txBody>
          <a:bodyPr>
            <a:normAutofit/>
          </a:bodyPr>
          <a:lstStyle>
            <a:lvl1pPr marL="0" indent="0">
              <a:buNone/>
              <a:defRPr sz="1400">
                <a:solidFill>
                  <a:schemeClr val="tx1"/>
                </a:solidFill>
              </a:defRPr>
            </a:lvl1pPr>
          </a:lstStyle>
          <a:p>
            <a:r>
              <a:rPr lang="en-JP"/>
              <a:t>Insert Photo</a:t>
            </a:r>
          </a:p>
        </p:txBody>
      </p:sp>
      <p:pic>
        <p:nvPicPr>
          <p:cNvPr id="14" name="Picture 13" descr="Takeda">
            <a:extLst>
              <a:ext uri="{FF2B5EF4-FFF2-40B4-BE49-F238E27FC236}">
                <a16:creationId xmlns:a16="http://schemas.microsoft.com/office/drawing/2014/main" id="{334C6D4B-D00D-0346-BC97-8DCE371C280F}"/>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CCEDFD04-9A53-9241-851E-1D01DC555ACC}"/>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Footer Placeholder 8">
            <a:extLst>
              <a:ext uri="{FF2B5EF4-FFF2-40B4-BE49-F238E27FC236}">
                <a16:creationId xmlns:a16="http://schemas.microsoft.com/office/drawing/2014/main" id="{1E1D8887-7EAE-1A40-9285-7C632FEAA8BF}"/>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3" name="Rectangle 22">
            <a:extLst>
              <a:ext uri="{FF2B5EF4-FFF2-40B4-BE49-F238E27FC236}">
                <a16:creationId xmlns:a16="http://schemas.microsoft.com/office/drawing/2014/main" id="{365B3EBD-E4F5-8E40-B07A-C04F3B1E7F2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6" name="スライド番号プレースホルダ 5">
            <a:extLst>
              <a:ext uri="{FF2B5EF4-FFF2-40B4-BE49-F238E27FC236}">
                <a16:creationId xmlns:a16="http://schemas.microsoft.com/office/drawing/2014/main" id="{3D5D14EF-A351-224D-8142-E1BEE44BBC9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7" name="Text Placeholder 6">
            <a:extLst>
              <a:ext uri="{FF2B5EF4-FFF2-40B4-BE49-F238E27FC236}">
                <a16:creationId xmlns:a16="http://schemas.microsoft.com/office/drawing/2014/main" id="{4D0A49B6-0BCC-C545-BF97-504B63062FE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D82FCE78-36AB-904B-98A8-CE3FFB1555E3}"/>
              </a:ext>
            </a:extLst>
          </p:cNvPr>
          <p:cNvSpPr>
            <a:spLocks noGrp="1"/>
          </p:cNvSpPr>
          <p:nvPr>
            <p:ph type="body" sz="quarter" idx="20" hasCustomPrompt="1"/>
          </p:nvPr>
        </p:nvSpPr>
        <p:spPr>
          <a:xfrm>
            <a:off x="311150" y="1491373"/>
            <a:ext cx="7660041"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72ECF95F-F25E-8248-A0F3-BB1749A1B406}"/>
              </a:ext>
            </a:extLst>
          </p:cNvPr>
          <p:cNvSpPr>
            <a:spLocks noGrp="1"/>
          </p:cNvSpPr>
          <p:nvPr>
            <p:ph type="body" sz="quarter" idx="21" hasCustomPrompt="1"/>
          </p:nvPr>
        </p:nvSpPr>
        <p:spPr>
          <a:xfrm>
            <a:off x="311149" y="1093767"/>
            <a:ext cx="7660041"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551311237"/>
      </p:ext>
    </p:extLst>
  </p:cSld>
  <p:clrMapOvr>
    <a:masterClrMapping/>
  </p:clrMapOvr>
  <p:transition spd="slow">
    <p:push dir="u"/>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Advanced 1/3 Image (Full Blee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7663807" cy="2859621"/>
          </a:xfrm>
          <a:prstGeom prst="rect">
            <a:avLst/>
          </a:prstGeom>
        </p:spPr>
        <p:txBody>
          <a:bodyPr tIns="0" rIns="0" bIns="0" numCol="2" spcCol="126000">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sp>
        <p:nvSpPr>
          <p:cNvPr id="11" name="Picture Placeholder 9">
            <a:extLst>
              <a:ext uri="{FF2B5EF4-FFF2-40B4-BE49-F238E27FC236}">
                <a16:creationId xmlns:a16="http://schemas.microsoft.com/office/drawing/2014/main" id="{B54C5EE8-C42D-B549-B4D4-C0F00D68A42B}"/>
              </a:ext>
            </a:extLst>
          </p:cNvPr>
          <p:cNvSpPr>
            <a:spLocks noGrp="1"/>
          </p:cNvSpPr>
          <p:nvPr>
            <p:ph type="pic" sz="quarter" idx="18" hasCustomPrompt="1"/>
          </p:nvPr>
        </p:nvSpPr>
        <p:spPr>
          <a:xfrm>
            <a:off x="8123708" y="-1378"/>
            <a:ext cx="4076946" cy="6860842"/>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 name="connsiteX0" fmla="*/ 0 w 7982550"/>
              <a:gd name="connsiteY0" fmla="*/ 0 h 5135028"/>
              <a:gd name="connsiteX1" fmla="*/ 6028853 w 7982550"/>
              <a:gd name="connsiteY1" fmla="*/ 7569 h 5135028"/>
              <a:gd name="connsiteX2" fmla="*/ 7982550 w 7982550"/>
              <a:gd name="connsiteY2" fmla="*/ 5135028 h 5135028"/>
              <a:gd name="connsiteX3" fmla="*/ 596656 w 7982550"/>
              <a:gd name="connsiteY3" fmla="*/ 5124807 h 5135028"/>
              <a:gd name="connsiteX4" fmla="*/ 16934 w 7982550"/>
              <a:gd name="connsiteY4" fmla="*/ 4545085 h 5135028"/>
              <a:gd name="connsiteX5" fmla="*/ 0 w 7982550"/>
              <a:gd name="connsiteY5" fmla="*/ 0 h 5135028"/>
              <a:gd name="connsiteX0" fmla="*/ 0 w 6037636"/>
              <a:gd name="connsiteY0" fmla="*/ 0 h 5135028"/>
              <a:gd name="connsiteX1" fmla="*/ 6028853 w 6037636"/>
              <a:gd name="connsiteY1" fmla="*/ 7569 h 5135028"/>
              <a:gd name="connsiteX2" fmla="*/ 6037636 w 6037636"/>
              <a:gd name="connsiteY2" fmla="*/ 5135028 h 5135028"/>
              <a:gd name="connsiteX3" fmla="*/ 596656 w 6037636"/>
              <a:gd name="connsiteY3" fmla="*/ 5124807 h 5135028"/>
              <a:gd name="connsiteX4" fmla="*/ 16934 w 6037636"/>
              <a:gd name="connsiteY4" fmla="*/ 4545085 h 5135028"/>
              <a:gd name="connsiteX5" fmla="*/ 0 w 6037636"/>
              <a:gd name="connsiteY5" fmla="*/ 0 h 5135028"/>
              <a:gd name="connsiteX0" fmla="*/ 0 w 6028853"/>
              <a:gd name="connsiteY0" fmla="*/ 0 h 5124807"/>
              <a:gd name="connsiteX1" fmla="*/ 6028853 w 6028853"/>
              <a:gd name="connsiteY1" fmla="*/ 7569 h 5124807"/>
              <a:gd name="connsiteX2" fmla="*/ 4063693 w 6028853"/>
              <a:gd name="connsiteY2" fmla="*/ 5105999 h 5124807"/>
              <a:gd name="connsiteX3" fmla="*/ 596656 w 6028853"/>
              <a:gd name="connsiteY3" fmla="*/ 5124807 h 5124807"/>
              <a:gd name="connsiteX4" fmla="*/ 16934 w 6028853"/>
              <a:gd name="connsiteY4" fmla="*/ 4545085 h 5124807"/>
              <a:gd name="connsiteX5" fmla="*/ 0 w 6028853"/>
              <a:gd name="connsiteY5" fmla="*/ 0 h 5124807"/>
              <a:gd name="connsiteX0" fmla="*/ 0 w 4069500"/>
              <a:gd name="connsiteY0" fmla="*/ 0 h 5124807"/>
              <a:gd name="connsiteX1" fmla="*/ 4069425 w 4069500"/>
              <a:gd name="connsiteY1" fmla="*/ 7569 h 5124807"/>
              <a:gd name="connsiteX2" fmla="*/ 4063693 w 4069500"/>
              <a:gd name="connsiteY2" fmla="*/ 5105999 h 5124807"/>
              <a:gd name="connsiteX3" fmla="*/ 596656 w 4069500"/>
              <a:gd name="connsiteY3" fmla="*/ 5124807 h 5124807"/>
              <a:gd name="connsiteX4" fmla="*/ 16934 w 4069500"/>
              <a:gd name="connsiteY4" fmla="*/ 4545085 h 5124807"/>
              <a:gd name="connsiteX5" fmla="*/ 0 w 4069500"/>
              <a:gd name="connsiteY5" fmla="*/ 0 h 5124807"/>
              <a:gd name="connsiteX0" fmla="*/ 0 w 4069500"/>
              <a:gd name="connsiteY0" fmla="*/ 6946 h 5131753"/>
              <a:gd name="connsiteX1" fmla="*/ 4069425 w 4069500"/>
              <a:gd name="connsiteY1" fmla="*/ 0 h 5131753"/>
              <a:gd name="connsiteX2" fmla="*/ 4063693 w 4069500"/>
              <a:gd name="connsiteY2" fmla="*/ 5112945 h 5131753"/>
              <a:gd name="connsiteX3" fmla="*/ 596656 w 4069500"/>
              <a:gd name="connsiteY3" fmla="*/ 5131753 h 5131753"/>
              <a:gd name="connsiteX4" fmla="*/ 16934 w 4069500"/>
              <a:gd name="connsiteY4" fmla="*/ 4552031 h 5131753"/>
              <a:gd name="connsiteX5" fmla="*/ 0 w 4069500"/>
              <a:gd name="connsiteY5" fmla="*/ 6946 h 5131753"/>
              <a:gd name="connsiteX0" fmla="*/ 0 w 4082753"/>
              <a:gd name="connsiteY0" fmla="*/ 2 h 6874096"/>
              <a:gd name="connsiteX1" fmla="*/ 4082678 w 4082753"/>
              <a:gd name="connsiteY1" fmla="*/ 1742343 h 6874096"/>
              <a:gd name="connsiteX2" fmla="*/ 4076946 w 4082753"/>
              <a:gd name="connsiteY2" fmla="*/ 6855288 h 6874096"/>
              <a:gd name="connsiteX3" fmla="*/ 609909 w 4082753"/>
              <a:gd name="connsiteY3" fmla="*/ 6874096 h 6874096"/>
              <a:gd name="connsiteX4" fmla="*/ 30187 w 4082753"/>
              <a:gd name="connsiteY4" fmla="*/ 6294374 h 6874096"/>
              <a:gd name="connsiteX5" fmla="*/ 0 w 4082753"/>
              <a:gd name="connsiteY5" fmla="*/ 2 h 6874096"/>
              <a:gd name="connsiteX0" fmla="*/ 0 w 4095958"/>
              <a:gd name="connsiteY0" fmla="*/ 6946 h 6881040"/>
              <a:gd name="connsiteX1" fmla="*/ 4095930 w 4095958"/>
              <a:gd name="connsiteY1" fmla="*/ 0 h 6881040"/>
              <a:gd name="connsiteX2" fmla="*/ 4076946 w 4095958"/>
              <a:gd name="connsiteY2" fmla="*/ 6862232 h 6881040"/>
              <a:gd name="connsiteX3" fmla="*/ 609909 w 4095958"/>
              <a:gd name="connsiteY3" fmla="*/ 6881040 h 6881040"/>
              <a:gd name="connsiteX4" fmla="*/ 30187 w 4095958"/>
              <a:gd name="connsiteY4" fmla="*/ 6301318 h 6881040"/>
              <a:gd name="connsiteX5" fmla="*/ 0 w 4095958"/>
              <a:gd name="connsiteY5" fmla="*/ 6946 h 6881040"/>
              <a:gd name="connsiteX0" fmla="*/ 0 w 4076946"/>
              <a:gd name="connsiteY0" fmla="*/ 0 h 6874094"/>
              <a:gd name="connsiteX1" fmla="*/ 3870643 w 4076946"/>
              <a:gd name="connsiteY1" fmla="*/ 191837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0 h 6874094"/>
              <a:gd name="connsiteX1" fmla="*/ 4069426 w 4076946"/>
              <a:gd name="connsiteY1" fmla="*/ 19559 h 6874094"/>
              <a:gd name="connsiteX2" fmla="*/ 4076946 w 4076946"/>
              <a:gd name="connsiteY2" fmla="*/ 6855286 h 6874094"/>
              <a:gd name="connsiteX3" fmla="*/ 609909 w 4076946"/>
              <a:gd name="connsiteY3" fmla="*/ 6874094 h 6874094"/>
              <a:gd name="connsiteX4" fmla="*/ 30187 w 4076946"/>
              <a:gd name="connsiteY4" fmla="*/ 6294372 h 6874094"/>
              <a:gd name="connsiteX5" fmla="*/ 0 w 4076946"/>
              <a:gd name="connsiteY5" fmla="*/ 0 h 6874094"/>
              <a:gd name="connsiteX0" fmla="*/ 0 w 4076946"/>
              <a:gd name="connsiteY0" fmla="*/ 99710 h 6854535"/>
              <a:gd name="connsiteX1" fmla="*/ 4069426 w 4076946"/>
              <a:gd name="connsiteY1" fmla="*/ 0 h 6854535"/>
              <a:gd name="connsiteX2" fmla="*/ 4076946 w 4076946"/>
              <a:gd name="connsiteY2" fmla="*/ 6835727 h 6854535"/>
              <a:gd name="connsiteX3" fmla="*/ 609909 w 4076946"/>
              <a:gd name="connsiteY3" fmla="*/ 6854535 h 6854535"/>
              <a:gd name="connsiteX4" fmla="*/ 30187 w 4076946"/>
              <a:gd name="connsiteY4" fmla="*/ 6274813 h 6854535"/>
              <a:gd name="connsiteX5" fmla="*/ 0 w 4076946"/>
              <a:gd name="connsiteY5" fmla="*/ 99710 h 6854535"/>
              <a:gd name="connsiteX0" fmla="*/ 0 w 4076946"/>
              <a:gd name="connsiteY0" fmla="*/ 0 h 6860842"/>
              <a:gd name="connsiteX1" fmla="*/ 4069426 w 4076946"/>
              <a:gd name="connsiteY1" fmla="*/ 6307 h 6860842"/>
              <a:gd name="connsiteX2" fmla="*/ 4076946 w 4076946"/>
              <a:gd name="connsiteY2" fmla="*/ 6842034 h 6860842"/>
              <a:gd name="connsiteX3" fmla="*/ 609909 w 4076946"/>
              <a:gd name="connsiteY3" fmla="*/ 6860842 h 6860842"/>
              <a:gd name="connsiteX4" fmla="*/ 30187 w 4076946"/>
              <a:gd name="connsiteY4" fmla="*/ 6281120 h 6860842"/>
              <a:gd name="connsiteX5" fmla="*/ 0 w 4076946"/>
              <a:gd name="connsiteY5" fmla="*/ 0 h 6860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76946" h="6860842">
                <a:moveTo>
                  <a:pt x="0" y="0"/>
                </a:moveTo>
                <a:lnTo>
                  <a:pt x="4069426" y="6307"/>
                </a:lnTo>
                <a:cubicBezTo>
                  <a:pt x="4070331" y="2153114"/>
                  <a:pt x="4076041" y="4695227"/>
                  <a:pt x="4076946" y="6842034"/>
                </a:cubicBezTo>
                <a:lnTo>
                  <a:pt x="609909" y="6860842"/>
                </a:lnTo>
                <a:cubicBezTo>
                  <a:pt x="289737" y="6860842"/>
                  <a:pt x="30187" y="6601292"/>
                  <a:pt x="30187" y="6281120"/>
                </a:cubicBezTo>
                <a:cubicBezTo>
                  <a:pt x="24542" y="4758683"/>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17" name="タイトル プレースホルダ 1">
            <a:extLst>
              <a:ext uri="{FF2B5EF4-FFF2-40B4-BE49-F238E27FC236}">
                <a16:creationId xmlns:a16="http://schemas.microsoft.com/office/drawing/2014/main" id="{6FB24DD6-99CB-CE43-A787-C9F60DC95F8F}"/>
              </a:ext>
            </a:extLst>
          </p:cNvPr>
          <p:cNvSpPr>
            <a:spLocks noGrp="1"/>
          </p:cNvSpPr>
          <p:nvPr>
            <p:ph type="title" hasCustomPrompt="1"/>
          </p:nvPr>
        </p:nvSpPr>
        <p:spPr>
          <a:xfrm>
            <a:off x="606079" y="161605"/>
            <a:ext cx="7368878"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8" name="Rectangle 17">
            <a:extLst>
              <a:ext uri="{FF2B5EF4-FFF2-40B4-BE49-F238E27FC236}">
                <a16:creationId xmlns:a16="http://schemas.microsoft.com/office/drawing/2014/main" id="{77130E5B-E573-584B-8C83-F8409492B14B}"/>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1" name="スライド番号プレースホルダ 5">
            <a:extLst>
              <a:ext uri="{FF2B5EF4-FFF2-40B4-BE49-F238E27FC236}">
                <a16:creationId xmlns:a16="http://schemas.microsoft.com/office/drawing/2014/main" id="{C55CC856-2ADD-F44F-96B6-03734457CCF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2" name="Text Placeholder 6">
            <a:extLst>
              <a:ext uri="{FF2B5EF4-FFF2-40B4-BE49-F238E27FC236}">
                <a16:creationId xmlns:a16="http://schemas.microsoft.com/office/drawing/2014/main" id="{DB94AACD-56D4-F146-AFC0-5CBE6630C5A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73A8AA34-7C7D-A24F-AF24-5158DD2AB0ED}"/>
              </a:ext>
            </a:extLst>
          </p:cNvPr>
          <p:cNvSpPr>
            <a:spLocks noGrp="1"/>
          </p:cNvSpPr>
          <p:nvPr>
            <p:ph type="body" sz="quarter" idx="20" hasCustomPrompt="1"/>
          </p:nvPr>
        </p:nvSpPr>
        <p:spPr>
          <a:xfrm>
            <a:off x="311151" y="1491373"/>
            <a:ext cx="7660042"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8F4B55CE-CF3E-7E44-A66A-599621CA5C5F}"/>
              </a:ext>
            </a:extLst>
          </p:cNvPr>
          <p:cNvSpPr>
            <a:spLocks noGrp="1"/>
          </p:cNvSpPr>
          <p:nvPr>
            <p:ph type="body" sz="quarter" idx="21" hasCustomPrompt="1"/>
          </p:nvPr>
        </p:nvSpPr>
        <p:spPr>
          <a:xfrm>
            <a:off x="311150" y="1093767"/>
            <a:ext cx="7660042"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890663235"/>
      </p:ext>
    </p:extLst>
  </p:cSld>
  <p:clrMapOvr>
    <a:masterClrMapping/>
  </p:clrMapOvr>
  <p:transition spd="slow">
    <p:push dir="u"/>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dvanced Image 4-Column">
    <p:spTree>
      <p:nvGrpSpPr>
        <p:cNvPr id="1" name=""/>
        <p:cNvGrpSpPr/>
        <p:nvPr/>
      </p:nvGrpSpPr>
      <p:grpSpPr>
        <a:xfrm>
          <a:off x="0" y="0"/>
          <a:ext cx="0" cy="0"/>
          <a:chOff x="0" y="0"/>
          <a:chExt cx="0" cy="0"/>
        </a:xfrm>
      </p:grpSpPr>
      <p:sp>
        <p:nvSpPr>
          <p:cNvPr id="22" name="Picture Placeholder 9">
            <a:extLst>
              <a:ext uri="{FF2B5EF4-FFF2-40B4-BE49-F238E27FC236}">
                <a16:creationId xmlns:a16="http://schemas.microsoft.com/office/drawing/2014/main" id="{21DF8897-54F9-C24F-8261-0C5418827A6D}"/>
              </a:ext>
            </a:extLst>
          </p:cNvPr>
          <p:cNvSpPr>
            <a:spLocks noGrp="1"/>
          </p:cNvSpPr>
          <p:nvPr>
            <p:ph type="pic" sz="quarter" idx="10" hasCustomPrompt="1"/>
          </p:nvPr>
        </p:nvSpPr>
        <p:spPr>
          <a:xfrm>
            <a:off x="9110737"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1400">
                <a:solidFill>
                  <a:schemeClr val="tx1"/>
                </a:solidFill>
              </a:defRPr>
            </a:lvl1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JP"/>
              <a:t>Insert Picture/Text Block</a:t>
            </a:r>
          </a:p>
          <a:p>
            <a:endParaRPr lang="en-JP"/>
          </a:p>
        </p:txBody>
      </p:sp>
      <p:sp>
        <p:nvSpPr>
          <p:cNvPr id="23" name="Picture Placeholder 9">
            <a:extLst>
              <a:ext uri="{FF2B5EF4-FFF2-40B4-BE49-F238E27FC236}">
                <a16:creationId xmlns:a16="http://schemas.microsoft.com/office/drawing/2014/main" id="{8D6B3691-FCAC-8A46-AA30-DEB2A719C7B2}"/>
              </a:ext>
            </a:extLst>
          </p:cNvPr>
          <p:cNvSpPr>
            <a:spLocks noGrp="1"/>
          </p:cNvSpPr>
          <p:nvPr>
            <p:ph type="pic" sz="quarter" idx="18" hasCustomPrompt="1"/>
          </p:nvPr>
        </p:nvSpPr>
        <p:spPr>
          <a:xfrm>
            <a:off x="311373"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4" name="Picture Placeholder 9">
            <a:extLst>
              <a:ext uri="{FF2B5EF4-FFF2-40B4-BE49-F238E27FC236}">
                <a16:creationId xmlns:a16="http://schemas.microsoft.com/office/drawing/2014/main" id="{AA8F528A-C9DE-0B46-881A-43E0F9B6F677}"/>
              </a:ext>
            </a:extLst>
          </p:cNvPr>
          <p:cNvSpPr>
            <a:spLocks noGrp="1"/>
          </p:cNvSpPr>
          <p:nvPr>
            <p:ph type="pic" sz="quarter" idx="19" hasCustomPrompt="1"/>
          </p:nvPr>
        </p:nvSpPr>
        <p:spPr>
          <a:xfrm>
            <a:off x="3244494"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JP"/>
              <a:t>Insert Picture/Text Block</a:t>
            </a:r>
          </a:p>
        </p:txBody>
      </p:sp>
      <p:sp>
        <p:nvSpPr>
          <p:cNvPr id="25" name="Picture Placeholder 9">
            <a:extLst>
              <a:ext uri="{FF2B5EF4-FFF2-40B4-BE49-F238E27FC236}">
                <a16:creationId xmlns:a16="http://schemas.microsoft.com/office/drawing/2014/main" id="{E01CF285-75D7-154A-ACF2-9393FB0B38D0}"/>
              </a:ext>
            </a:extLst>
          </p:cNvPr>
          <p:cNvSpPr>
            <a:spLocks noGrp="1"/>
          </p:cNvSpPr>
          <p:nvPr>
            <p:ph type="pic" sz="quarter" idx="20" hasCustomPrompt="1"/>
          </p:nvPr>
        </p:nvSpPr>
        <p:spPr>
          <a:xfrm>
            <a:off x="6177615" y="3076286"/>
            <a:ext cx="2772041" cy="3138969"/>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18553"/>
              <a:gd name="connsiteX1" fmla="*/ 8912928 w 8915642"/>
              <a:gd name="connsiteY1" fmla="*/ 176478 h 6618553"/>
              <a:gd name="connsiteX2" fmla="*/ 8915642 w 8915642"/>
              <a:gd name="connsiteY2" fmla="*/ 6616899 h 6618553"/>
              <a:gd name="connsiteX3" fmla="*/ 579722 w 8915642"/>
              <a:gd name="connsiteY3" fmla="*/ 6618553 h 6618553"/>
              <a:gd name="connsiteX4" fmla="*/ 0 w 8915642"/>
              <a:gd name="connsiteY4" fmla="*/ 6038831 h 6618553"/>
              <a:gd name="connsiteX5" fmla="*/ 0 w 8915642"/>
              <a:gd name="connsiteY5" fmla="*/ 1 h 6618553"/>
              <a:gd name="connsiteX0" fmla="*/ 0 w 8915642"/>
              <a:gd name="connsiteY0" fmla="*/ 25404 h 6643956"/>
              <a:gd name="connsiteX1" fmla="*/ 6015348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25404 h 6643956"/>
              <a:gd name="connsiteX0" fmla="*/ 0 w 8915642"/>
              <a:gd name="connsiteY0" fmla="*/ 1653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1653 h 6620205"/>
              <a:gd name="connsiteX0" fmla="*/ 0 w 8915642"/>
              <a:gd name="connsiteY0" fmla="*/ 96656 h 6620205"/>
              <a:gd name="connsiteX1" fmla="*/ 6003473 w 8915642"/>
              <a:gd name="connsiteY1" fmla="*/ 0 h 6620205"/>
              <a:gd name="connsiteX2" fmla="*/ 8915642 w 8915642"/>
              <a:gd name="connsiteY2" fmla="*/ 6618551 h 6620205"/>
              <a:gd name="connsiteX3" fmla="*/ 579722 w 8915642"/>
              <a:gd name="connsiteY3" fmla="*/ 6620205 h 6620205"/>
              <a:gd name="connsiteX4" fmla="*/ 0 w 8915642"/>
              <a:gd name="connsiteY4" fmla="*/ 6040483 h 6620205"/>
              <a:gd name="connsiteX5" fmla="*/ 0 w 8915642"/>
              <a:gd name="connsiteY5" fmla="*/ 96656 h 6620205"/>
              <a:gd name="connsiteX0" fmla="*/ 0 w 8915642"/>
              <a:gd name="connsiteY0" fmla="*/ 0 h 6642302"/>
              <a:gd name="connsiteX1" fmla="*/ 6003473 w 8915642"/>
              <a:gd name="connsiteY1" fmla="*/ 22097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0 h 6642302"/>
              <a:gd name="connsiteX1" fmla="*/ 5932221 w 8915642"/>
              <a:gd name="connsiteY1" fmla="*/ 152725 h 6642302"/>
              <a:gd name="connsiteX2" fmla="*/ 8915642 w 8915642"/>
              <a:gd name="connsiteY2" fmla="*/ 6640648 h 6642302"/>
              <a:gd name="connsiteX3" fmla="*/ 579722 w 8915642"/>
              <a:gd name="connsiteY3" fmla="*/ 6642302 h 6642302"/>
              <a:gd name="connsiteX4" fmla="*/ 0 w 8915642"/>
              <a:gd name="connsiteY4" fmla="*/ 6062580 h 6642302"/>
              <a:gd name="connsiteX5" fmla="*/ 0 w 8915642"/>
              <a:gd name="connsiteY5" fmla="*/ 0 h 6642302"/>
              <a:gd name="connsiteX0" fmla="*/ 0 w 8915642"/>
              <a:gd name="connsiteY0" fmla="*/ 1654 h 6643956"/>
              <a:gd name="connsiteX1" fmla="*/ 6003473 w 8915642"/>
              <a:gd name="connsiteY1" fmla="*/ 0 h 6643956"/>
              <a:gd name="connsiteX2" fmla="*/ 8915642 w 8915642"/>
              <a:gd name="connsiteY2" fmla="*/ 6642302 h 6643956"/>
              <a:gd name="connsiteX3" fmla="*/ 579722 w 8915642"/>
              <a:gd name="connsiteY3" fmla="*/ 6643956 h 6643956"/>
              <a:gd name="connsiteX4" fmla="*/ 0 w 8915642"/>
              <a:gd name="connsiteY4" fmla="*/ 6064234 h 6643956"/>
              <a:gd name="connsiteX5" fmla="*/ 0 w 8915642"/>
              <a:gd name="connsiteY5" fmla="*/ 1654 h 6643956"/>
              <a:gd name="connsiteX0" fmla="*/ 0 w 6018062"/>
              <a:gd name="connsiteY0" fmla="*/ 1654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1654 h 6654178"/>
              <a:gd name="connsiteX0" fmla="*/ 0 w 6018062"/>
              <a:gd name="connsiteY0" fmla="*/ 203535 h 6654178"/>
              <a:gd name="connsiteX1" fmla="*/ 6003473 w 6018062"/>
              <a:gd name="connsiteY1" fmla="*/ 0 h 6654178"/>
              <a:gd name="connsiteX2" fmla="*/ 6018062 w 6018062"/>
              <a:gd name="connsiteY2" fmla="*/ 6654178 h 6654178"/>
              <a:gd name="connsiteX3" fmla="*/ 579722 w 6018062"/>
              <a:gd name="connsiteY3" fmla="*/ 6643956 h 6654178"/>
              <a:gd name="connsiteX4" fmla="*/ 0 w 6018062"/>
              <a:gd name="connsiteY4" fmla="*/ 6064234 h 6654178"/>
              <a:gd name="connsiteX5" fmla="*/ 0 w 6018062"/>
              <a:gd name="connsiteY5" fmla="*/ 203535 h 6654178"/>
              <a:gd name="connsiteX0" fmla="*/ 0 w 6018062"/>
              <a:gd name="connsiteY0" fmla="*/ 1655 h 6452298"/>
              <a:gd name="connsiteX1" fmla="*/ 4055920 w 6018062"/>
              <a:gd name="connsiteY1" fmla="*/ 0 h 6452298"/>
              <a:gd name="connsiteX2" fmla="*/ 6018062 w 6018062"/>
              <a:gd name="connsiteY2" fmla="*/ 6452298 h 6452298"/>
              <a:gd name="connsiteX3" fmla="*/ 579722 w 6018062"/>
              <a:gd name="connsiteY3" fmla="*/ 6442076 h 6452298"/>
              <a:gd name="connsiteX4" fmla="*/ 0 w 6018062"/>
              <a:gd name="connsiteY4" fmla="*/ 5862354 h 6452298"/>
              <a:gd name="connsiteX5" fmla="*/ 0 w 6018062"/>
              <a:gd name="connsiteY5" fmla="*/ 1655 h 6452298"/>
              <a:gd name="connsiteX0" fmla="*/ 0 w 4055973"/>
              <a:gd name="connsiteY0" fmla="*/ 1655 h 6452298"/>
              <a:gd name="connsiteX1" fmla="*/ 4055920 w 4055973"/>
              <a:gd name="connsiteY1" fmla="*/ 0 h 6452298"/>
              <a:gd name="connsiteX2" fmla="*/ 4046758 w 4055973"/>
              <a:gd name="connsiteY2" fmla="*/ 6452298 h 6452298"/>
              <a:gd name="connsiteX3" fmla="*/ 579722 w 4055973"/>
              <a:gd name="connsiteY3" fmla="*/ 6442076 h 6452298"/>
              <a:gd name="connsiteX4" fmla="*/ 0 w 4055973"/>
              <a:gd name="connsiteY4" fmla="*/ 5862354 h 6452298"/>
              <a:gd name="connsiteX5" fmla="*/ 0 w 4055973"/>
              <a:gd name="connsiteY5" fmla="*/ 1655 h 6452298"/>
              <a:gd name="connsiteX0" fmla="*/ 0 w 4055973"/>
              <a:gd name="connsiteY0" fmla="*/ 0 h 6652523"/>
              <a:gd name="connsiteX1" fmla="*/ 4055920 w 4055973"/>
              <a:gd name="connsiteY1" fmla="*/ 200225 h 6652523"/>
              <a:gd name="connsiteX2" fmla="*/ 4046758 w 4055973"/>
              <a:gd name="connsiteY2" fmla="*/ 6652523 h 6652523"/>
              <a:gd name="connsiteX3" fmla="*/ 579722 w 4055973"/>
              <a:gd name="connsiteY3" fmla="*/ 6642301 h 6652523"/>
              <a:gd name="connsiteX4" fmla="*/ 0 w 4055973"/>
              <a:gd name="connsiteY4" fmla="*/ 6062579 h 6652523"/>
              <a:gd name="connsiteX5" fmla="*/ 0 w 4055973"/>
              <a:gd name="connsiteY5" fmla="*/ 0 h 6652523"/>
              <a:gd name="connsiteX0" fmla="*/ 0 w 4046758"/>
              <a:gd name="connsiteY0" fmla="*/ 0 h 6652523"/>
              <a:gd name="connsiteX1" fmla="*/ 4044045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1655 h 6654178"/>
              <a:gd name="connsiteX1" fmla="*/ 3082144 w 4046758"/>
              <a:gd name="connsiteY1" fmla="*/ 0 h 6654178"/>
              <a:gd name="connsiteX2" fmla="*/ 4046758 w 4046758"/>
              <a:gd name="connsiteY2" fmla="*/ 6654178 h 6654178"/>
              <a:gd name="connsiteX3" fmla="*/ 579722 w 4046758"/>
              <a:gd name="connsiteY3" fmla="*/ 6643956 h 6654178"/>
              <a:gd name="connsiteX4" fmla="*/ 0 w 4046758"/>
              <a:gd name="connsiteY4" fmla="*/ 6064234 h 6654178"/>
              <a:gd name="connsiteX5" fmla="*/ 0 w 4046758"/>
              <a:gd name="connsiteY5" fmla="*/ 1655 h 6654178"/>
              <a:gd name="connsiteX0" fmla="*/ 0 w 4046758"/>
              <a:gd name="connsiteY0" fmla="*/ 0 h 6652523"/>
              <a:gd name="connsiteX1" fmla="*/ 2975266 w 4046758"/>
              <a:gd name="connsiteY1" fmla="*/ 93348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70268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4046758"/>
              <a:gd name="connsiteY0" fmla="*/ 0 h 6652523"/>
              <a:gd name="connsiteX1" fmla="*/ 3082144 w 4046758"/>
              <a:gd name="connsiteY1" fmla="*/ 10220 h 6652523"/>
              <a:gd name="connsiteX2" fmla="*/ 4046758 w 4046758"/>
              <a:gd name="connsiteY2" fmla="*/ 6652523 h 6652523"/>
              <a:gd name="connsiteX3" fmla="*/ 579722 w 4046758"/>
              <a:gd name="connsiteY3" fmla="*/ 6642301 h 6652523"/>
              <a:gd name="connsiteX4" fmla="*/ 0 w 4046758"/>
              <a:gd name="connsiteY4" fmla="*/ 6062579 h 6652523"/>
              <a:gd name="connsiteX5" fmla="*/ 0 w 4046758"/>
              <a:gd name="connsiteY5" fmla="*/ 0 h 6652523"/>
              <a:gd name="connsiteX0" fmla="*/ 0 w 3082197"/>
              <a:gd name="connsiteY0" fmla="*/ 0 h 6652523"/>
              <a:gd name="connsiteX1" fmla="*/ 3082144 w 3082197"/>
              <a:gd name="connsiteY1" fmla="*/ 10220 h 6652523"/>
              <a:gd name="connsiteX2" fmla="*/ 3072982 w 3082197"/>
              <a:gd name="connsiteY2" fmla="*/ 6652523 h 6652523"/>
              <a:gd name="connsiteX3" fmla="*/ 579722 w 3082197"/>
              <a:gd name="connsiteY3" fmla="*/ 6642301 h 6652523"/>
              <a:gd name="connsiteX4" fmla="*/ 0 w 3082197"/>
              <a:gd name="connsiteY4" fmla="*/ 6062579 h 6652523"/>
              <a:gd name="connsiteX5" fmla="*/ 0 w 3082197"/>
              <a:gd name="connsiteY5" fmla="*/ 0 h 6652523"/>
              <a:gd name="connsiteX0" fmla="*/ 0 w 3072982"/>
              <a:gd name="connsiteY0" fmla="*/ 0 h 6652523"/>
              <a:gd name="connsiteX1" fmla="*/ 3010892 w 3072982"/>
              <a:gd name="connsiteY1" fmla="*/ 164599 h 6652523"/>
              <a:gd name="connsiteX2" fmla="*/ 3072982 w 3072982"/>
              <a:gd name="connsiteY2" fmla="*/ 6652523 h 6652523"/>
              <a:gd name="connsiteX3" fmla="*/ 579722 w 3072982"/>
              <a:gd name="connsiteY3" fmla="*/ 6642301 h 6652523"/>
              <a:gd name="connsiteX4" fmla="*/ 0 w 3072982"/>
              <a:gd name="connsiteY4" fmla="*/ 6062579 h 6652523"/>
              <a:gd name="connsiteX5" fmla="*/ 0 w 3072982"/>
              <a:gd name="connsiteY5" fmla="*/ 0 h 6652523"/>
              <a:gd name="connsiteX0" fmla="*/ 0 w 3082197"/>
              <a:gd name="connsiteY0" fmla="*/ 1656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656 h 6654179"/>
              <a:gd name="connsiteX0" fmla="*/ 0 w 3082197"/>
              <a:gd name="connsiteY0" fmla="*/ 1316107 h 6654179"/>
              <a:gd name="connsiteX1" fmla="*/ 3082144 w 3082197"/>
              <a:gd name="connsiteY1" fmla="*/ 0 h 6654179"/>
              <a:gd name="connsiteX2" fmla="*/ 3072982 w 3082197"/>
              <a:gd name="connsiteY2" fmla="*/ 6654179 h 6654179"/>
              <a:gd name="connsiteX3" fmla="*/ 579722 w 3082197"/>
              <a:gd name="connsiteY3" fmla="*/ 6643957 h 6654179"/>
              <a:gd name="connsiteX4" fmla="*/ 0 w 3082197"/>
              <a:gd name="connsiteY4" fmla="*/ 6064235 h 6654179"/>
              <a:gd name="connsiteX5" fmla="*/ 0 w 3082197"/>
              <a:gd name="connsiteY5" fmla="*/ 1316107 h 6654179"/>
              <a:gd name="connsiteX0" fmla="*/ 0 w 3082197"/>
              <a:gd name="connsiteY0" fmla="*/ 1657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1657 h 5339729"/>
              <a:gd name="connsiteX0" fmla="*/ 0 w 3082197"/>
              <a:gd name="connsiteY0" fmla="*/ 2202416 h 5339729"/>
              <a:gd name="connsiteX1" fmla="*/ 3082144 w 3082197"/>
              <a:gd name="connsiteY1" fmla="*/ 0 h 5339729"/>
              <a:gd name="connsiteX2" fmla="*/ 3072982 w 3082197"/>
              <a:gd name="connsiteY2" fmla="*/ 5339729 h 5339729"/>
              <a:gd name="connsiteX3" fmla="*/ 579722 w 3082197"/>
              <a:gd name="connsiteY3" fmla="*/ 5329507 h 5339729"/>
              <a:gd name="connsiteX4" fmla="*/ 0 w 3082197"/>
              <a:gd name="connsiteY4" fmla="*/ 4749785 h 5339729"/>
              <a:gd name="connsiteX5" fmla="*/ 0 w 3082197"/>
              <a:gd name="connsiteY5" fmla="*/ 2202416 h 5339729"/>
              <a:gd name="connsiteX0" fmla="*/ 0 w 3082197"/>
              <a:gd name="connsiteY0" fmla="*/ 1656 h 3138969"/>
              <a:gd name="connsiteX1" fmla="*/ 3082144 w 3082197"/>
              <a:gd name="connsiteY1" fmla="*/ 0 h 3138969"/>
              <a:gd name="connsiteX2" fmla="*/ 3072982 w 3082197"/>
              <a:gd name="connsiteY2" fmla="*/ 3138969 h 3138969"/>
              <a:gd name="connsiteX3" fmla="*/ 579722 w 3082197"/>
              <a:gd name="connsiteY3" fmla="*/ 3128747 h 3138969"/>
              <a:gd name="connsiteX4" fmla="*/ 0 w 3082197"/>
              <a:gd name="connsiteY4" fmla="*/ 2549025 h 3138969"/>
              <a:gd name="connsiteX5" fmla="*/ 0 w 3082197"/>
              <a:gd name="connsiteY5" fmla="*/ 1656 h 3138969"/>
              <a:gd name="connsiteX0" fmla="*/ 0 w 3082145"/>
              <a:gd name="connsiteY0" fmla="*/ 1656 h 3150544"/>
              <a:gd name="connsiteX1" fmla="*/ 3082144 w 3082145"/>
              <a:gd name="connsiteY1" fmla="*/ 0 h 3150544"/>
              <a:gd name="connsiteX2" fmla="*/ 2772041 w 3082145"/>
              <a:gd name="connsiteY2" fmla="*/ 3150544 h 3150544"/>
              <a:gd name="connsiteX3" fmla="*/ 579722 w 3082145"/>
              <a:gd name="connsiteY3" fmla="*/ 3128747 h 3150544"/>
              <a:gd name="connsiteX4" fmla="*/ 0 w 3082145"/>
              <a:gd name="connsiteY4" fmla="*/ 2549025 h 3150544"/>
              <a:gd name="connsiteX5" fmla="*/ 0 w 3082145"/>
              <a:gd name="connsiteY5" fmla="*/ 1656 h 3150544"/>
              <a:gd name="connsiteX0" fmla="*/ 0 w 2772041"/>
              <a:gd name="connsiteY0" fmla="*/ 1656 h 3150544"/>
              <a:gd name="connsiteX1" fmla="*/ 2769627 w 2772041"/>
              <a:gd name="connsiteY1" fmla="*/ 0 h 3150544"/>
              <a:gd name="connsiteX2" fmla="*/ 2772041 w 2772041"/>
              <a:gd name="connsiteY2" fmla="*/ 3150544 h 3150544"/>
              <a:gd name="connsiteX3" fmla="*/ 579722 w 2772041"/>
              <a:gd name="connsiteY3" fmla="*/ 3128747 h 3150544"/>
              <a:gd name="connsiteX4" fmla="*/ 0 w 2772041"/>
              <a:gd name="connsiteY4" fmla="*/ 2549025 h 3150544"/>
              <a:gd name="connsiteX5" fmla="*/ 0 w 2772041"/>
              <a:gd name="connsiteY5" fmla="*/ 1656 h 3150544"/>
              <a:gd name="connsiteX0" fmla="*/ 0 w 2772041"/>
              <a:gd name="connsiteY0" fmla="*/ 1656 h 3138969"/>
              <a:gd name="connsiteX1" fmla="*/ 2769627 w 2772041"/>
              <a:gd name="connsiteY1" fmla="*/ 0 h 3138969"/>
              <a:gd name="connsiteX2" fmla="*/ 2772041 w 2772041"/>
              <a:gd name="connsiteY2" fmla="*/ 3138969 h 3138969"/>
              <a:gd name="connsiteX3" fmla="*/ 579722 w 2772041"/>
              <a:gd name="connsiteY3" fmla="*/ 3128747 h 3138969"/>
              <a:gd name="connsiteX4" fmla="*/ 0 w 2772041"/>
              <a:gd name="connsiteY4" fmla="*/ 2549025 h 3138969"/>
              <a:gd name="connsiteX5" fmla="*/ 0 w 2772041"/>
              <a:gd name="connsiteY5" fmla="*/ 1656 h 3138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2041" h="3138969">
                <a:moveTo>
                  <a:pt x="0" y="1656"/>
                </a:moveTo>
                <a:lnTo>
                  <a:pt x="2769627" y="0"/>
                </a:lnTo>
                <a:cubicBezTo>
                  <a:pt x="2770532" y="2146807"/>
                  <a:pt x="2771136" y="992162"/>
                  <a:pt x="2772041" y="3138969"/>
                </a:cubicBezTo>
                <a:lnTo>
                  <a:pt x="579722" y="3128747"/>
                </a:lnTo>
                <a:cubicBezTo>
                  <a:pt x="259550" y="3128747"/>
                  <a:pt x="0" y="2869197"/>
                  <a:pt x="0" y="2549025"/>
                </a:cubicBezTo>
                <a:lnTo>
                  <a:pt x="0" y="1656"/>
                </a:lnTo>
                <a:close/>
              </a:path>
            </a:pathLst>
          </a:custGeom>
          <a:noFill/>
        </p:spPr>
        <p:txBody>
          <a:bodyPr>
            <a:normAutofit/>
          </a:bodyPr>
          <a:lstStyle>
            <a:lvl1pPr marL="0" indent="0">
              <a:buNone/>
              <a:defRPr sz="1400">
                <a:solidFill>
                  <a:schemeClr val="tx1"/>
                </a:solidFill>
              </a:defRPr>
            </a:lvl1pPr>
          </a:lstStyle>
          <a:p>
            <a:r>
              <a:rPr lang="en-US"/>
              <a:t>Insert Picture/Text Block</a:t>
            </a:r>
          </a:p>
          <a:p>
            <a:endParaRPr lang="en-US"/>
          </a:p>
          <a:p>
            <a:endParaRPr lang="en-JP"/>
          </a:p>
        </p:txBody>
      </p:sp>
      <p:pic>
        <p:nvPicPr>
          <p:cNvPr id="14" name="Picture 13" descr="Takeda">
            <a:extLst>
              <a:ext uri="{FF2B5EF4-FFF2-40B4-BE49-F238E27FC236}">
                <a16:creationId xmlns:a16="http://schemas.microsoft.com/office/drawing/2014/main" id="{47FD433F-488A-9D46-BDF0-87D0F082AE4B}"/>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8" name="タイトル プレースホルダ 1">
            <a:extLst>
              <a:ext uri="{FF2B5EF4-FFF2-40B4-BE49-F238E27FC236}">
                <a16:creationId xmlns:a16="http://schemas.microsoft.com/office/drawing/2014/main" id="{4FBB8310-69E6-7C4E-A4B1-C022B6FEE2C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4EF39473-C435-3C4E-9C7B-048D52C3CC92}"/>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US"/>
              <a:t> </a:t>
            </a:r>
            <a:endParaRPr lang="en-JP"/>
          </a:p>
        </p:txBody>
      </p:sp>
      <p:sp>
        <p:nvSpPr>
          <p:cNvPr id="21" name="Rectangle 20">
            <a:extLst>
              <a:ext uri="{FF2B5EF4-FFF2-40B4-BE49-F238E27FC236}">
                <a16:creationId xmlns:a16="http://schemas.microsoft.com/office/drawing/2014/main" id="{0FEF9AE6-D84E-9F43-9506-6676EC51B210}"/>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8" name="スライド番号プレースホルダ 5">
            <a:extLst>
              <a:ext uri="{FF2B5EF4-FFF2-40B4-BE49-F238E27FC236}">
                <a16:creationId xmlns:a16="http://schemas.microsoft.com/office/drawing/2014/main" id="{F964ADE6-9B0D-EC45-959C-FEEA5CDDFBA9}"/>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9" name="Text Placeholder 6">
            <a:extLst>
              <a:ext uri="{FF2B5EF4-FFF2-40B4-BE49-F238E27FC236}">
                <a16:creationId xmlns:a16="http://schemas.microsoft.com/office/drawing/2014/main" id="{870D8562-3CE7-7044-9BB0-2068A81BF5CB}"/>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9" name="Text Placeholder 2">
            <a:extLst>
              <a:ext uri="{FF2B5EF4-FFF2-40B4-BE49-F238E27FC236}">
                <a16:creationId xmlns:a16="http://schemas.microsoft.com/office/drawing/2014/main" id="{099C450B-0755-7D4A-9672-E700D6F2E50A}"/>
              </a:ext>
            </a:extLst>
          </p:cNvPr>
          <p:cNvSpPr>
            <a:spLocks noGrp="1"/>
          </p:cNvSpPr>
          <p:nvPr>
            <p:ph type="body" sz="quarter" idx="21"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0" name="Text Placeholder 6">
            <a:extLst>
              <a:ext uri="{FF2B5EF4-FFF2-40B4-BE49-F238E27FC236}">
                <a16:creationId xmlns:a16="http://schemas.microsoft.com/office/drawing/2014/main" id="{705B1BEB-AC9F-9643-A446-ABE1DDB96144}"/>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2804114049"/>
      </p:ext>
    </p:extLst>
  </p:cSld>
  <p:clrMapOvr>
    <a:masterClrMapping/>
  </p:clrMapOvr>
  <p:transition spd="slow">
    <p:push dir="u"/>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Advanced Chart Full Width">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11571628" cy="3340389"/>
          </a:xfrm>
          <a:prstGeom prst="rect">
            <a:avLst/>
          </a:prstGeom>
        </p:spPr>
        <p:txBody>
          <a:bodyPr>
            <a:normAutofit/>
          </a:bodyPr>
          <a:lstStyle>
            <a:lvl1pPr marL="0" indent="0">
              <a:buNone/>
              <a:defRPr sz="1400"/>
            </a:lvl1pPr>
          </a:lstStyle>
          <a:p>
            <a:r>
              <a:rPr lang="en-JP"/>
              <a:t>Insert Chart</a:t>
            </a:r>
          </a:p>
        </p:txBody>
      </p:sp>
      <p:pic>
        <p:nvPicPr>
          <p:cNvPr id="11" name="Picture 10" descr="Takeda">
            <a:extLst>
              <a:ext uri="{FF2B5EF4-FFF2-40B4-BE49-F238E27FC236}">
                <a16:creationId xmlns:a16="http://schemas.microsoft.com/office/drawing/2014/main" id="{7EBA21A8-EE4B-6E4B-A794-3FEA5B15990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75E45CD2-2EBD-AE47-837E-9F752C565F73}"/>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7" name="Footer Placeholder 8">
            <a:extLst>
              <a:ext uri="{FF2B5EF4-FFF2-40B4-BE49-F238E27FC236}">
                <a16:creationId xmlns:a16="http://schemas.microsoft.com/office/drawing/2014/main" id="{2DC26CE8-1DEF-EE42-861C-B0406E8DC23D}"/>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0" name="Rectangle 19">
            <a:extLst>
              <a:ext uri="{FF2B5EF4-FFF2-40B4-BE49-F238E27FC236}">
                <a16:creationId xmlns:a16="http://schemas.microsoft.com/office/drawing/2014/main" id="{4436966D-3DF0-4D41-9D26-4860D147F80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3" name="スライド番号プレースホルダ 5">
            <a:extLst>
              <a:ext uri="{FF2B5EF4-FFF2-40B4-BE49-F238E27FC236}">
                <a16:creationId xmlns:a16="http://schemas.microsoft.com/office/drawing/2014/main" id="{600920FB-2D44-F645-865D-89FFECB09573}"/>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4" name="Text Placeholder 6">
            <a:extLst>
              <a:ext uri="{FF2B5EF4-FFF2-40B4-BE49-F238E27FC236}">
                <a16:creationId xmlns:a16="http://schemas.microsoft.com/office/drawing/2014/main" id="{07DE8F7E-1418-1C4C-A62B-2385714992F7}"/>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4" name="Text Placeholder 2">
            <a:extLst>
              <a:ext uri="{FF2B5EF4-FFF2-40B4-BE49-F238E27FC236}">
                <a16:creationId xmlns:a16="http://schemas.microsoft.com/office/drawing/2014/main" id="{628A960D-6A45-6744-9BDB-7070B443CC64}"/>
              </a:ext>
            </a:extLst>
          </p:cNvPr>
          <p:cNvSpPr>
            <a:spLocks noGrp="1"/>
          </p:cNvSpPr>
          <p:nvPr>
            <p:ph type="body" sz="quarter" idx="20" hasCustomPrompt="1"/>
          </p:nvPr>
        </p:nvSpPr>
        <p:spPr>
          <a:xfrm>
            <a:off x="311150" y="1491373"/>
            <a:ext cx="11569699"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5" name="Text Placeholder 6">
            <a:extLst>
              <a:ext uri="{FF2B5EF4-FFF2-40B4-BE49-F238E27FC236}">
                <a16:creationId xmlns:a16="http://schemas.microsoft.com/office/drawing/2014/main" id="{21493179-5EA4-604B-A9DF-BDA818F0166A}"/>
              </a:ext>
            </a:extLst>
          </p:cNvPr>
          <p:cNvSpPr>
            <a:spLocks noGrp="1"/>
          </p:cNvSpPr>
          <p:nvPr>
            <p:ph type="body" sz="quarter" idx="22"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354790208"/>
      </p:ext>
    </p:extLst>
  </p:cSld>
  <p:clrMapOvr>
    <a:masterClrMapping/>
  </p:clrMapOvr>
  <p:transition spd="slow">
    <p:push dir="u"/>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Advanced Chart 2/3">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4227225" y="1093767"/>
            <a:ext cx="7653625" cy="5322908"/>
          </a:xfrm>
          <a:prstGeom prst="rect">
            <a:avLst/>
          </a:prstGeom>
        </p:spPr>
        <p:txBody>
          <a:bodyPr>
            <a:normAutofit/>
          </a:bodyPr>
          <a:lstStyle>
            <a:lvl1pPr marL="0" indent="0">
              <a:buNone/>
              <a:defRPr sz="1400"/>
            </a:lvl1pPr>
          </a:lstStyle>
          <a:p>
            <a:r>
              <a:rPr lang="en-JP"/>
              <a:t>Insert Chart</a:t>
            </a:r>
          </a:p>
        </p:txBody>
      </p:sp>
      <p:sp>
        <p:nvSpPr>
          <p:cNvPr id="9" name="Text Placeholder 6">
            <a:extLst>
              <a:ext uri="{FF2B5EF4-FFF2-40B4-BE49-F238E27FC236}">
                <a16:creationId xmlns:a16="http://schemas.microsoft.com/office/drawing/2014/main" id="{EF65D74B-37DA-0D46-8B56-9B362C84E6B9}"/>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0" name="Text Placeholder 6">
            <a:extLst>
              <a:ext uri="{FF2B5EF4-FFF2-40B4-BE49-F238E27FC236}">
                <a16:creationId xmlns:a16="http://schemas.microsoft.com/office/drawing/2014/main" id="{BF5F6A26-5AAA-884F-A319-DE9881530AA7}"/>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a:t>
            </a:r>
          </a:p>
        </p:txBody>
      </p:sp>
      <p:pic>
        <p:nvPicPr>
          <p:cNvPr id="12" name="Picture 11" descr="Takeda">
            <a:extLst>
              <a:ext uri="{FF2B5EF4-FFF2-40B4-BE49-F238E27FC236}">
                <a16:creationId xmlns:a16="http://schemas.microsoft.com/office/drawing/2014/main" id="{5D7AA9CA-E651-9E48-B0F3-BDDA45B353E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3" name="タイトル プレースホルダ 1">
            <a:extLst>
              <a:ext uri="{FF2B5EF4-FFF2-40B4-BE49-F238E27FC236}">
                <a16:creationId xmlns:a16="http://schemas.microsoft.com/office/drawing/2014/main" id="{2256F400-EDA8-7F44-BF13-278518497C9E}"/>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5" name="Footer Placeholder 8">
            <a:extLst>
              <a:ext uri="{FF2B5EF4-FFF2-40B4-BE49-F238E27FC236}">
                <a16:creationId xmlns:a16="http://schemas.microsoft.com/office/drawing/2014/main" id="{7136781B-A49B-0A42-B748-01C379A12FF6}"/>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1" name="Rectangle 20">
            <a:extLst>
              <a:ext uri="{FF2B5EF4-FFF2-40B4-BE49-F238E27FC236}">
                <a16:creationId xmlns:a16="http://schemas.microsoft.com/office/drawing/2014/main" id="{EAC2B0AC-7801-6C42-BA03-0669DC118159}"/>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スライド番号プレースホルダ 5">
            <a:extLst>
              <a:ext uri="{FF2B5EF4-FFF2-40B4-BE49-F238E27FC236}">
                <a16:creationId xmlns:a16="http://schemas.microsoft.com/office/drawing/2014/main" id="{71FCF96E-3BB8-0745-B029-6B6BE4291274}"/>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5" name="Text Placeholder 6">
            <a:extLst>
              <a:ext uri="{FF2B5EF4-FFF2-40B4-BE49-F238E27FC236}">
                <a16:creationId xmlns:a16="http://schemas.microsoft.com/office/drawing/2014/main" id="{875659DC-941F-AA40-8336-C3B1BF32BA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45375A5A-6A84-7145-B49C-982F84619406}"/>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5F7E9041-544E-3547-AC30-65F55E91E1ED}"/>
              </a:ext>
            </a:extLst>
          </p:cNvPr>
          <p:cNvSpPr>
            <a:spLocks noGrp="1"/>
          </p:cNvSpPr>
          <p:nvPr>
            <p:ph type="body" sz="quarter" idx="22"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822941942"/>
      </p:ext>
    </p:extLst>
  </p:cSld>
  <p:clrMapOvr>
    <a:masterClrMapping/>
  </p:clrMapOvr>
  <p:transition spd="slow">
    <p:push dir="u"/>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Advanced Chart 2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3" y="3076286"/>
            <a:ext cx="5708650" cy="3340389"/>
          </a:xfrm>
          <a:prstGeom prst="rect">
            <a:avLst/>
          </a:prstGeom>
        </p:spPr>
        <p:txBody>
          <a:bodyPr>
            <a:normAutofit/>
          </a:bodyPr>
          <a:lstStyle>
            <a:lvl1pPr marL="0" indent="0">
              <a:buNone/>
              <a:defRPr sz="1400"/>
            </a:lvl1pPr>
          </a:lstStyle>
          <a:p>
            <a:r>
              <a:rPr lang="en-JP"/>
              <a:t>Insert Chart</a:t>
            </a:r>
          </a:p>
        </p:txBody>
      </p:sp>
      <p:sp>
        <p:nvSpPr>
          <p:cNvPr id="9" name="Chart Placeholder 7">
            <a:extLst>
              <a:ext uri="{FF2B5EF4-FFF2-40B4-BE49-F238E27FC236}">
                <a16:creationId xmlns:a16="http://schemas.microsoft.com/office/drawing/2014/main" id="{F1FC7466-185A-8B44-ABF0-5410C1127700}"/>
              </a:ext>
            </a:extLst>
          </p:cNvPr>
          <p:cNvSpPr>
            <a:spLocks noGrp="1"/>
          </p:cNvSpPr>
          <p:nvPr>
            <p:ph type="chart" sz="quarter" idx="22" hasCustomPrompt="1"/>
          </p:nvPr>
        </p:nvSpPr>
        <p:spPr>
          <a:xfrm>
            <a:off x="6206170" y="3076286"/>
            <a:ext cx="5708650" cy="3340389"/>
          </a:xfrm>
          <a:prstGeom prst="rect">
            <a:avLst/>
          </a:prstGeom>
        </p:spPr>
        <p:txBody>
          <a:bodyPr>
            <a:normAutofit/>
          </a:bodyPr>
          <a:lstStyle>
            <a:lvl1pPr marL="0" indent="0">
              <a:buNone/>
              <a:defRPr sz="1400"/>
            </a:lvl1pPr>
          </a:lstStyle>
          <a:p>
            <a:r>
              <a:rPr lang="en-JP"/>
              <a:t>Insert Chart</a:t>
            </a:r>
          </a:p>
        </p:txBody>
      </p:sp>
      <p:pic>
        <p:nvPicPr>
          <p:cNvPr id="10" name="Picture 9" descr="Takeda">
            <a:extLst>
              <a:ext uri="{FF2B5EF4-FFF2-40B4-BE49-F238E27FC236}">
                <a16:creationId xmlns:a16="http://schemas.microsoft.com/office/drawing/2014/main" id="{F183604A-2112-D443-8B35-2DFEE7121A6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2" name="タイトル プレースホルダ 1">
            <a:extLst>
              <a:ext uri="{FF2B5EF4-FFF2-40B4-BE49-F238E27FC236}">
                <a16:creationId xmlns:a16="http://schemas.microsoft.com/office/drawing/2014/main" id="{906CE02B-33D8-B048-A73D-781A3402C2B1}"/>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4" name="Footer Placeholder 8">
            <a:extLst>
              <a:ext uri="{FF2B5EF4-FFF2-40B4-BE49-F238E27FC236}">
                <a16:creationId xmlns:a16="http://schemas.microsoft.com/office/drawing/2014/main" id="{C2587943-8F51-3542-B7BE-5781719445F9}"/>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17" name="Rectangle 16">
            <a:extLst>
              <a:ext uri="{FF2B5EF4-FFF2-40B4-BE49-F238E27FC236}">
                <a16:creationId xmlns:a16="http://schemas.microsoft.com/office/drawing/2014/main" id="{B679FB0B-7616-F04F-9B4C-586869A82E96}"/>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2" name="スライド番号プレースホルダ 5">
            <a:extLst>
              <a:ext uri="{FF2B5EF4-FFF2-40B4-BE49-F238E27FC236}">
                <a16:creationId xmlns:a16="http://schemas.microsoft.com/office/drawing/2014/main" id="{8AFBB1AB-19B7-1347-93F8-D14235DD2317}"/>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3" name="Text Placeholder 6">
            <a:extLst>
              <a:ext uri="{FF2B5EF4-FFF2-40B4-BE49-F238E27FC236}">
                <a16:creationId xmlns:a16="http://schemas.microsoft.com/office/drawing/2014/main" id="{1C168495-CA79-E440-A93B-B87B36748352}"/>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F6F06E4B-A978-4E46-AE6C-67B54F7E34D5}"/>
              </a:ext>
            </a:extLst>
          </p:cNvPr>
          <p:cNvSpPr>
            <a:spLocks noGrp="1"/>
          </p:cNvSpPr>
          <p:nvPr>
            <p:ph type="body" sz="quarter" idx="20" hasCustomPrompt="1"/>
          </p:nvPr>
        </p:nvSpPr>
        <p:spPr>
          <a:xfrm>
            <a:off x="311150" y="1491373"/>
            <a:ext cx="1160366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3FF373A1-4E48-6C48-A075-153436CF76DC}"/>
              </a:ext>
            </a:extLst>
          </p:cNvPr>
          <p:cNvSpPr>
            <a:spLocks noGrp="1"/>
          </p:cNvSpPr>
          <p:nvPr>
            <p:ph type="body" sz="quarter" idx="23" hasCustomPrompt="1"/>
          </p:nvPr>
        </p:nvSpPr>
        <p:spPr>
          <a:xfrm>
            <a:off x="311149" y="1093767"/>
            <a:ext cx="1160366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161561364"/>
      </p:ext>
    </p:extLst>
  </p:cSld>
  <p:clrMapOvr>
    <a:masterClrMapping/>
  </p:clrMapOvr>
  <p:transition spd="slow">
    <p:push dir="u"/>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Advanced Chart 3 Column">
    <p:spTree>
      <p:nvGrpSpPr>
        <p:cNvPr id="1" name=""/>
        <p:cNvGrpSpPr/>
        <p:nvPr/>
      </p:nvGrpSpPr>
      <p:grpSpPr>
        <a:xfrm>
          <a:off x="0" y="0"/>
          <a:ext cx="0" cy="0"/>
          <a:chOff x="0" y="0"/>
          <a:chExt cx="0" cy="0"/>
        </a:xfrm>
      </p:grpSpPr>
      <p:sp>
        <p:nvSpPr>
          <p:cNvPr id="8" name="Chart Placeholder 7">
            <a:extLst>
              <a:ext uri="{FF2B5EF4-FFF2-40B4-BE49-F238E27FC236}">
                <a16:creationId xmlns:a16="http://schemas.microsoft.com/office/drawing/2014/main" id="{A6D4E593-FDCC-D14E-9C5E-5F309E415C26}"/>
              </a:ext>
            </a:extLst>
          </p:cNvPr>
          <p:cNvSpPr>
            <a:spLocks noGrp="1"/>
          </p:cNvSpPr>
          <p:nvPr>
            <p:ph type="chart" sz="quarter" idx="21" hasCustomPrompt="1"/>
          </p:nvPr>
        </p:nvSpPr>
        <p:spPr>
          <a:xfrm>
            <a:off x="309224" y="3076286"/>
            <a:ext cx="3757810" cy="3340389"/>
          </a:xfrm>
          <a:prstGeom prst="rect">
            <a:avLst/>
          </a:prstGeom>
        </p:spPr>
        <p:txBody>
          <a:bodyPr>
            <a:normAutofit/>
          </a:bodyPr>
          <a:lstStyle>
            <a:lvl1pPr marL="0" indent="0">
              <a:buNone/>
              <a:defRPr sz="1400"/>
            </a:lvl1pPr>
          </a:lstStyle>
          <a:p>
            <a:r>
              <a:rPr lang="en-JP"/>
              <a:t>Insert Chart</a:t>
            </a:r>
          </a:p>
        </p:txBody>
      </p:sp>
      <p:sp>
        <p:nvSpPr>
          <p:cNvPr id="10" name="Chart Placeholder 7">
            <a:extLst>
              <a:ext uri="{FF2B5EF4-FFF2-40B4-BE49-F238E27FC236}">
                <a16:creationId xmlns:a16="http://schemas.microsoft.com/office/drawing/2014/main" id="{8D9BD23C-1777-C442-B4B0-BADF450483EA}"/>
              </a:ext>
            </a:extLst>
          </p:cNvPr>
          <p:cNvSpPr>
            <a:spLocks noGrp="1"/>
          </p:cNvSpPr>
          <p:nvPr>
            <p:ph type="chart" sz="quarter" idx="22" hasCustomPrompt="1"/>
          </p:nvPr>
        </p:nvSpPr>
        <p:spPr>
          <a:xfrm>
            <a:off x="4217095" y="3076286"/>
            <a:ext cx="3757810" cy="3340389"/>
          </a:xfrm>
          <a:prstGeom prst="rect">
            <a:avLst/>
          </a:prstGeom>
        </p:spPr>
        <p:txBody>
          <a:bodyPr>
            <a:normAutofit/>
          </a:bodyPr>
          <a:lstStyle>
            <a:lvl1pPr marL="0" indent="0">
              <a:buNone/>
              <a:defRPr sz="1400"/>
            </a:lvl1pPr>
          </a:lstStyle>
          <a:p>
            <a:r>
              <a:rPr lang="en-JP"/>
              <a:t>Insert Chart</a:t>
            </a:r>
          </a:p>
        </p:txBody>
      </p:sp>
      <p:sp>
        <p:nvSpPr>
          <p:cNvPr id="11" name="Chart Placeholder 7">
            <a:extLst>
              <a:ext uri="{FF2B5EF4-FFF2-40B4-BE49-F238E27FC236}">
                <a16:creationId xmlns:a16="http://schemas.microsoft.com/office/drawing/2014/main" id="{2D7D413C-2FF1-204A-83C6-B7426603B7C2}"/>
              </a:ext>
            </a:extLst>
          </p:cNvPr>
          <p:cNvSpPr>
            <a:spLocks noGrp="1"/>
          </p:cNvSpPr>
          <p:nvPr>
            <p:ph type="chart" sz="quarter" idx="23" hasCustomPrompt="1"/>
          </p:nvPr>
        </p:nvSpPr>
        <p:spPr>
          <a:xfrm>
            <a:off x="8123041" y="3076286"/>
            <a:ext cx="3757810" cy="3340389"/>
          </a:xfrm>
          <a:prstGeom prst="rect">
            <a:avLst/>
          </a:prstGeom>
        </p:spPr>
        <p:txBody>
          <a:bodyPr>
            <a:normAutofit/>
          </a:bodyPr>
          <a:lstStyle>
            <a:lvl1pPr marL="0" indent="0">
              <a:buNone/>
              <a:defRPr sz="1400"/>
            </a:lvl1pPr>
          </a:lstStyle>
          <a:p>
            <a:r>
              <a:rPr lang="en-JP"/>
              <a:t>Insert Chart</a:t>
            </a:r>
          </a:p>
        </p:txBody>
      </p:sp>
      <p:pic>
        <p:nvPicPr>
          <p:cNvPr id="13" name="Picture 12" descr="Takeda">
            <a:extLst>
              <a:ext uri="{FF2B5EF4-FFF2-40B4-BE49-F238E27FC236}">
                <a16:creationId xmlns:a16="http://schemas.microsoft.com/office/drawing/2014/main" id="{0C4979BF-EBB2-214C-8087-7AC4B2163D8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17" name="タイトル プレースホルダ 1">
            <a:extLst>
              <a:ext uri="{FF2B5EF4-FFF2-40B4-BE49-F238E27FC236}">
                <a16:creationId xmlns:a16="http://schemas.microsoft.com/office/drawing/2014/main" id="{2FFB1535-D35E-D242-B225-DDF1C53BB8D4}"/>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19" name="Footer Placeholder 8">
            <a:extLst>
              <a:ext uri="{FF2B5EF4-FFF2-40B4-BE49-F238E27FC236}">
                <a16:creationId xmlns:a16="http://schemas.microsoft.com/office/drawing/2014/main" id="{47DB5E3C-7053-3645-A234-760F5ED1236A}"/>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sp>
        <p:nvSpPr>
          <p:cNvPr id="22" name="Rectangle 21">
            <a:extLst>
              <a:ext uri="{FF2B5EF4-FFF2-40B4-BE49-F238E27FC236}">
                <a16:creationId xmlns:a16="http://schemas.microsoft.com/office/drawing/2014/main" id="{DEFC8CB7-67E9-8A46-B53F-F34ACE18BE87}"/>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5EB1023E-4E73-AD49-83B0-D7B458250C6F}"/>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4942DB0C-137A-4E4C-B926-77CEECC512A8}"/>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5" name="Text Placeholder 2">
            <a:extLst>
              <a:ext uri="{FF2B5EF4-FFF2-40B4-BE49-F238E27FC236}">
                <a16:creationId xmlns:a16="http://schemas.microsoft.com/office/drawing/2014/main" id="{AD1171B1-AEC6-164D-8FE0-E0B9353A55BF}"/>
              </a:ext>
            </a:extLst>
          </p:cNvPr>
          <p:cNvSpPr>
            <a:spLocks noGrp="1"/>
          </p:cNvSpPr>
          <p:nvPr>
            <p:ph type="body" sz="quarter" idx="20" hasCustomPrompt="1"/>
          </p:nvPr>
        </p:nvSpPr>
        <p:spPr>
          <a:xfrm>
            <a:off x="311150" y="1491373"/>
            <a:ext cx="11569699" cy="1464957"/>
          </a:xfrm>
        </p:spPr>
        <p:txBody>
          <a:bodyPr tIns="0" rIns="0" bIns="0" numCol="2"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66C4AA1F-8B09-5544-9C70-388A6E2940C9}"/>
              </a:ext>
            </a:extLst>
          </p:cNvPr>
          <p:cNvSpPr>
            <a:spLocks noGrp="1"/>
          </p:cNvSpPr>
          <p:nvPr>
            <p:ph type="body" sz="quarter" idx="24" hasCustomPrompt="1"/>
          </p:nvPr>
        </p:nvSpPr>
        <p:spPr>
          <a:xfrm>
            <a:off x="311149" y="1093767"/>
            <a:ext cx="11569699"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378292908"/>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0" name="Picture Placeholder 3">
            <a:extLst>
              <a:ext uri="{FF2B5EF4-FFF2-40B4-BE49-F238E27FC236}">
                <a16:creationId xmlns:a16="http://schemas.microsoft.com/office/drawing/2014/main" id="{902F3095-EA6E-F94A-AF04-18ED691DEB75}"/>
              </a:ext>
            </a:extLst>
          </p:cNvPr>
          <p:cNvSpPr>
            <a:spLocks noGrp="1"/>
          </p:cNvSpPr>
          <p:nvPr>
            <p:ph type="pic" sz="quarter" idx="17"/>
          </p:nvPr>
        </p:nvSpPr>
        <p:spPr>
          <a:xfrm>
            <a:off x="5866513" y="376180"/>
            <a:ext cx="6326533" cy="6108535"/>
          </a:xfrm>
          <a:custGeom>
            <a:avLst/>
            <a:gdLst>
              <a:gd name="connsiteX0" fmla="*/ 0 w 6462532"/>
              <a:gd name="connsiteY0" fmla="*/ 3052818 h 6105636"/>
              <a:gd name="connsiteX1" fmla="*/ 3052818 w 6462532"/>
              <a:gd name="connsiteY1" fmla="*/ 0 h 6105636"/>
              <a:gd name="connsiteX2" fmla="*/ 3409714 w 6462532"/>
              <a:gd name="connsiteY2" fmla="*/ 0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309764"/>
              <a:gd name="connsiteY0" fmla="*/ 3060215 h 6113033"/>
              <a:gd name="connsiteX1" fmla="*/ 3052818 w 7309764"/>
              <a:gd name="connsiteY1" fmla="*/ 7397 h 6113033"/>
              <a:gd name="connsiteX2" fmla="*/ 6592752 w 7309764"/>
              <a:gd name="connsiteY2" fmla="*/ 53695 h 6113033"/>
              <a:gd name="connsiteX3" fmla="*/ 6462532 w 7309764"/>
              <a:gd name="connsiteY3" fmla="*/ 3060215 h 6113033"/>
              <a:gd name="connsiteX4" fmla="*/ 6462532 w 7309764"/>
              <a:gd name="connsiteY4" fmla="*/ 3060215 h 6113033"/>
              <a:gd name="connsiteX5" fmla="*/ 3409714 w 7309764"/>
              <a:gd name="connsiteY5" fmla="*/ 6113033 h 6113033"/>
              <a:gd name="connsiteX6" fmla="*/ 3052818 w 7309764"/>
              <a:gd name="connsiteY6" fmla="*/ 6113033 h 6113033"/>
              <a:gd name="connsiteX7" fmla="*/ 0 w 7309764"/>
              <a:gd name="connsiteY7" fmla="*/ 3060215 h 6113033"/>
              <a:gd name="connsiteX0" fmla="*/ 0 w 7309764"/>
              <a:gd name="connsiteY0" fmla="*/ 3052818 h 6105636"/>
              <a:gd name="connsiteX1" fmla="*/ 3052818 w 7309764"/>
              <a:gd name="connsiteY1" fmla="*/ 0 h 6105636"/>
              <a:gd name="connsiteX2" fmla="*/ 6592752 w 7309764"/>
              <a:gd name="connsiteY2" fmla="*/ 46298 h 6105636"/>
              <a:gd name="connsiteX3" fmla="*/ 6462532 w 7309764"/>
              <a:gd name="connsiteY3" fmla="*/ 3052818 h 6105636"/>
              <a:gd name="connsiteX4" fmla="*/ 6462532 w 7309764"/>
              <a:gd name="connsiteY4" fmla="*/ 3052818 h 6105636"/>
              <a:gd name="connsiteX5" fmla="*/ 3409714 w 7309764"/>
              <a:gd name="connsiteY5" fmla="*/ 6105636 h 6105636"/>
              <a:gd name="connsiteX6" fmla="*/ 3052818 w 7309764"/>
              <a:gd name="connsiteY6" fmla="*/ 6105636 h 6105636"/>
              <a:gd name="connsiteX7" fmla="*/ 0 w 7309764"/>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7162978"/>
              <a:gd name="connsiteY0" fmla="*/ 3052818 h 6105636"/>
              <a:gd name="connsiteX1" fmla="*/ 3052818 w 7162978"/>
              <a:gd name="connsiteY1" fmla="*/ 0 h 6105636"/>
              <a:gd name="connsiteX2" fmla="*/ 6395982 w 7162978"/>
              <a:gd name="connsiteY2" fmla="*/ 11574 h 6105636"/>
              <a:gd name="connsiteX3" fmla="*/ 6462532 w 7162978"/>
              <a:gd name="connsiteY3" fmla="*/ 3052818 h 6105636"/>
              <a:gd name="connsiteX4" fmla="*/ 6462532 w 7162978"/>
              <a:gd name="connsiteY4" fmla="*/ 3052818 h 6105636"/>
              <a:gd name="connsiteX5" fmla="*/ 3409714 w 7162978"/>
              <a:gd name="connsiteY5" fmla="*/ 6105636 h 6105636"/>
              <a:gd name="connsiteX6" fmla="*/ 3052818 w 7162978"/>
              <a:gd name="connsiteY6" fmla="*/ 6105636 h 6105636"/>
              <a:gd name="connsiteX7" fmla="*/ 0 w 7162978"/>
              <a:gd name="connsiteY7" fmla="*/ 3052818 h 6105636"/>
              <a:gd name="connsiteX0" fmla="*/ 0 w 6750471"/>
              <a:gd name="connsiteY0" fmla="*/ 3052818 h 6105636"/>
              <a:gd name="connsiteX1" fmla="*/ 3052818 w 6750471"/>
              <a:gd name="connsiteY1" fmla="*/ 0 h 6105636"/>
              <a:gd name="connsiteX2" fmla="*/ 6395982 w 6750471"/>
              <a:gd name="connsiteY2" fmla="*/ 11574 h 6105636"/>
              <a:gd name="connsiteX3" fmla="*/ 6462532 w 6750471"/>
              <a:gd name="connsiteY3" fmla="*/ 3052818 h 6105636"/>
              <a:gd name="connsiteX4" fmla="*/ 6462532 w 6750471"/>
              <a:gd name="connsiteY4" fmla="*/ 3052818 h 6105636"/>
              <a:gd name="connsiteX5" fmla="*/ 3409714 w 6750471"/>
              <a:gd name="connsiteY5" fmla="*/ 6105636 h 6105636"/>
              <a:gd name="connsiteX6" fmla="*/ 3052818 w 6750471"/>
              <a:gd name="connsiteY6" fmla="*/ 6105636 h 6105636"/>
              <a:gd name="connsiteX7" fmla="*/ 0 w 6750471"/>
              <a:gd name="connsiteY7" fmla="*/ 3052818 h 6105636"/>
              <a:gd name="connsiteX0" fmla="*/ 0 w 6462532"/>
              <a:gd name="connsiteY0" fmla="*/ 3052818 h 6105636"/>
              <a:gd name="connsiteX1" fmla="*/ 3052818 w 6462532"/>
              <a:gd name="connsiteY1" fmla="*/ 0 h 6105636"/>
              <a:gd name="connsiteX2" fmla="*/ 6395982 w 6462532"/>
              <a:gd name="connsiteY2" fmla="*/ 11574 h 6105636"/>
              <a:gd name="connsiteX3" fmla="*/ 6462532 w 6462532"/>
              <a:gd name="connsiteY3" fmla="*/ 3052818 h 6105636"/>
              <a:gd name="connsiteX4" fmla="*/ 6462532 w 6462532"/>
              <a:gd name="connsiteY4" fmla="*/ 3052818 h 6105636"/>
              <a:gd name="connsiteX5" fmla="*/ 3409714 w 6462532"/>
              <a:gd name="connsiteY5" fmla="*/ 6105636 h 6105636"/>
              <a:gd name="connsiteX6" fmla="*/ 3052818 w 6462532"/>
              <a:gd name="connsiteY6" fmla="*/ 6105636 h 6105636"/>
              <a:gd name="connsiteX7" fmla="*/ 0 w 6462532"/>
              <a:gd name="connsiteY7" fmla="*/ 3052818 h 6105636"/>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6462532 w 6477004"/>
              <a:gd name="connsiteY4" fmla="*/ 3052819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5756477 w 6477004"/>
              <a:gd name="connsiteY4" fmla="*/ 3018095 h 6105637"/>
              <a:gd name="connsiteX5" fmla="*/ 3409714 w 6477004"/>
              <a:gd name="connsiteY5" fmla="*/ 6105637 h 6105637"/>
              <a:gd name="connsiteX6" fmla="*/ 3052818 w 6477004"/>
              <a:gd name="connsiteY6" fmla="*/ 6105637 h 6105637"/>
              <a:gd name="connsiteX7" fmla="*/ 0 w 6477004"/>
              <a:gd name="connsiteY7" fmla="*/ 3052819 h 6105637"/>
              <a:gd name="connsiteX0" fmla="*/ 0 w 6477004"/>
              <a:gd name="connsiteY0" fmla="*/ 3052819 h 6105637"/>
              <a:gd name="connsiteX1" fmla="*/ 3052818 w 6477004"/>
              <a:gd name="connsiteY1" fmla="*/ 1 h 6105637"/>
              <a:gd name="connsiteX2" fmla="*/ 6477004 w 6477004"/>
              <a:gd name="connsiteY2" fmla="*/ 0 h 6105637"/>
              <a:gd name="connsiteX3" fmla="*/ 6462532 w 6477004"/>
              <a:gd name="connsiteY3" fmla="*/ 3052819 h 6105637"/>
              <a:gd name="connsiteX4" fmla="*/ 3409714 w 6477004"/>
              <a:gd name="connsiteY4" fmla="*/ 6105637 h 6105637"/>
              <a:gd name="connsiteX5" fmla="*/ 3052818 w 6477004"/>
              <a:gd name="connsiteY5" fmla="*/ 6105637 h 6105637"/>
              <a:gd name="connsiteX6" fmla="*/ 0 w 6477004"/>
              <a:gd name="connsiteY6" fmla="*/ 3052819 h 6105637"/>
              <a:gd name="connsiteX0" fmla="*/ 0 w 6477004"/>
              <a:gd name="connsiteY0" fmla="*/ 3052819 h 6108535"/>
              <a:gd name="connsiteX1" fmla="*/ 3052818 w 6477004"/>
              <a:gd name="connsiteY1" fmla="*/ 1 h 6108535"/>
              <a:gd name="connsiteX2" fmla="*/ 6477004 w 6477004"/>
              <a:gd name="connsiteY2" fmla="*/ 0 h 6108535"/>
              <a:gd name="connsiteX3" fmla="*/ 6462532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477004"/>
              <a:gd name="connsiteY0" fmla="*/ 3052819 h 6108535"/>
              <a:gd name="connsiteX1" fmla="*/ 3052818 w 6477004"/>
              <a:gd name="connsiteY1" fmla="*/ 1 h 6108535"/>
              <a:gd name="connsiteX2" fmla="*/ 6477004 w 6477004"/>
              <a:gd name="connsiteY2" fmla="*/ 0 h 6108535"/>
              <a:gd name="connsiteX3" fmla="*/ 6323635 w 6477004"/>
              <a:gd name="connsiteY3" fmla="*/ 6108535 h 6108535"/>
              <a:gd name="connsiteX4" fmla="*/ 3409714 w 6477004"/>
              <a:gd name="connsiteY4" fmla="*/ 6105637 h 6108535"/>
              <a:gd name="connsiteX5" fmla="*/ 3052818 w 6477004"/>
              <a:gd name="connsiteY5" fmla="*/ 6105637 h 6108535"/>
              <a:gd name="connsiteX6" fmla="*/ 0 w 6477004"/>
              <a:gd name="connsiteY6" fmla="*/ 3052819 h 6108535"/>
              <a:gd name="connsiteX0" fmla="*/ 0 w 6326533"/>
              <a:gd name="connsiteY0" fmla="*/ 3052819 h 6108535"/>
              <a:gd name="connsiteX1" fmla="*/ 3052818 w 6326533"/>
              <a:gd name="connsiteY1" fmla="*/ 1 h 6108535"/>
              <a:gd name="connsiteX2" fmla="*/ 6326533 w 6326533"/>
              <a:gd name="connsiteY2" fmla="*/ 0 h 6108535"/>
              <a:gd name="connsiteX3" fmla="*/ 6323635 w 6326533"/>
              <a:gd name="connsiteY3" fmla="*/ 6108535 h 6108535"/>
              <a:gd name="connsiteX4" fmla="*/ 3409714 w 6326533"/>
              <a:gd name="connsiteY4" fmla="*/ 6105637 h 6108535"/>
              <a:gd name="connsiteX5" fmla="*/ 3052818 w 6326533"/>
              <a:gd name="connsiteY5" fmla="*/ 6105637 h 6108535"/>
              <a:gd name="connsiteX6" fmla="*/ 0 w 6326533"/>
              <a:gd name="connsiteY6" fmla="*/ 3052819 h 61085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26533" h="6108535">
                <a:moveTo>
                  <a:pt x="0" y="3052819"/>
                </a:moveTo>
                <a:cubicBezTo>
                  <a:pt x="0" y="1366794"/>
                  <a:pt x="1366793" y="1"/>
                  <a:pt x="3052818" y="1"/>
                </a:cubicBezTo>
                <a:lnTo>
                  <a:pt x="6326533" y="0"/>
                </a:lnTo>
                <a:lnTo>
                  <a:pt x="6323635" y="6108535"/>
                </a:lnTo>
                <a:lnTo>
                  <a:pt x="3409714" y="6105637"/>
                </a:lnTo>
                <a:lnTo>
                  <a:pt x="3052818" y="6105637"/>
                </a:lnTo>
                <a:cubicBezTo>
                  <a:pt x="1366793" y="6105637"/>
                  <a:pt x="0" y="4738844"/>
                  <a:pt x="0" y="3052819"/>
                </a:cubicBezTo>
                <a:close/>
              </a:path>
            </a:pathLst>
          </a:custGeom>
          <a:noFill/>
        </p:spPr>
        <p:txBody>
          <a:bodyPr>
            <a:normAutofit/>
          </a:bodyPr>
          <a:lstStyle>
            <a:lvl1pPr marL="0" indent="0">
              <a:buNone/>
              <a:defRPr sz="2400">
                <a:solidFill>
                  <a:schemeClr val="bg1"/>
                </a:solidFill>
              </a:defRPr>
            </a:lvl1pPr>
          </a:lstStyle>
          <a:p>
            <a:r>
              <a:rPr lang="zh-CN" altLang="en-US"/>
              <a:t>单击图标添加图片</a:t>
            </a:r>
            <a:endParaRPr lang="en-US"/>
          </a:p>
        </p:txBody>
      </p:sp>
      <p:pic>
        <p:nvPicPr>
          <p:cNvPr id="9" name="Picture 8" descr="Takeda">
            <a:extLst>
              <a:ext uri="{FF2B5EF4-FFF2-40B4-BE49-F238E27FC236}">
                <a16:creationId xmlns:a16="http://schemas.microsoft.com/office/drawing/2014/main" id="{F83AE827-0C93-0344-8F1E-82C9D7F8CD52}"/>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74417" y="-10972"/>
            <a:ext cx="2251710" cy="1248865"/>
          </a:xfrm>
          <a:prstGeom prst="rect">
            <a:avLst/>
          </a:prstGeom>
        </p:spPr>
      </p:pic>
      <p:pic>
        <p:nvPicPr>
          <p:cNvPr id="19" name="Picture 18">
            <a:extLst>
              <a:ext uri="{FF2B5EF4-FFF2-40B4-BE49-F238E27FC236}">
                <a16:creationId xmlns:a16="http://schemas.microsoft.com/office/drawing/2014/main" id="{C219044E-3CA3-8043-AF11-ED42DE4ECFF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4730" y="6367253"/>
            <a:ext cx="1958578" cy="117462"/>
          </a:xfrm>
          <a:prstGeom prst="rect">
            <a:avLst/>
          </a:prstGeom>
        </p:spPr>
      </p:pic>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4354732" cy="234001"/>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spTree>
    <p:extLst>
      <p:ext uri="{BB962C8B-B14F-4D97-AF65-F5344CB8AC3E}">
        <p14:creationId xmlns:p14="http://schemas.microsoft.com/office/powerpoint/2010/main" val="4074573485"/>
      </p:ext>
    </p:extLst>
  </p:cSld>
  <p:clrMapOvr>
    <a:masterClrMapping/>
  </p:clrMapOvr>
  <p:transition spd="slow">
    <p:push dir="u"/>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Page 2 ">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6862150" cy="1125969"/>
          </a:xfrm>
          <a:prstGeom prst="rect">
            <a:avLst/>
          </a:prstGeom>
        </p:spPr>
        <p:txBody>
          <a:bodyPr wrap="square" lIns="0" tIns="0" rIns="0" bIns="0" anchor="t"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29" name="Text Placeholder 2">
            <a:extLst>
              <a:ext uri="{FF2B5EF4-FFF2-40B4-BE49-F238E27FC236}">
                <a16:creationId xmlns:a16="http://schemas.microsoft.com/office/drawing/2014/main" id="{8F239D86-1AC3-1D48-9675-22CEFBB263F8}"/>
              </a:ext>
            </a:extLst>
          </p:cNvPr>
          <p:cNvSpPr>
            <a:spLocks noGrp="1"/>
          </p:cNvSpPr>
          <p:nvPr>
            <p:ph type="body" sz="quarter" idx="27" hasCustomPrompt="1"/>
          </p:nvPr>
        </p:nvSpPr>
        <p:spPr>
          <a:xfrm>
            <a:off x="1194729" y="3835926"/>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Title of Position</a:t>
            </a:r>
          </a:p>
        </p:txBody>
      </p:sp>
      <p:sp>
        <p:nvSpPr>
          <p:cNvPr id="30" name="Text Placeholder 2">
            <a:extLst>
              <a:ext uri="{FF2B5EF4-FFF2-40B4-BE49-F238E27FC236}">
                <a16:creationId xmlns:a16="http://schemas.microsoft.com/office/drawing/2014/main" id="{91BF6710-27B9-2444-8317-2C64F0D30847}"/>
              </a:ext>
            </a:extLst>
          </p:cNvPr>
          <p:cNvSpPr>
            <a:spLocks noGrp="1"/>
          </p:cNvSpPr>
          <p:nvPr>
            <p:ph type="body" sz="quarter" idx="28" hasCustomPrompt="1"/>
          </p:nvPr>
        </p:nvSpPr>
        <p:spPr>
          <a:xfrm>
            <a:off x="1194729" y="4094940"/>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epartment</a:t>
            </a:r>
          </a:p>
        </p:txBody>
      </p:sp>
      <p:sp>
        <p:nvSpPr>
          <p:cNvPr id="31" name="Text Placeholder 2">
            <a:extLst>
              <a:ext uri="{FF2B5EF4-FFF2-40B4-BE49-F238E27FC236}">
                <a16:creationId xmlns:a16="http://schemas.microsoft.com/office/drawing/2014/main" id="{669B2D41-B11D-9D45-B189-F838AC342B07}"/>
              </a:ext>
            </a:extLst>
          </p:cNvPr>
          <p:cNvSpPr>
            <a:spLocks noGrp="1"/>
          </p:cNvSpPr>
          <p:nvPr>
            <p:ph type="body" sz="quarter" idx="29" hasCustomPrompt="1"/>
          </p:nvPr>
        </p:nvSpPr>
        <p:spPr>
          <a:xfrm>
            <a:off x="1194729" y="4349427"/>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Date</a:t>
            </a:r>
          </a:p>
        </p:txBody>
      </p:sp>
      <p:sp>
        <p:nvSpPr>
          <p:cNvPr id="32" name="Text Placeholder 2">
            <a:extLst>
              <a:ext uri="{FF2B5EF4-FFF2-40B4-BE49-F238E27FC236}">
                <a16:creationId xmlns:a16="http://schemas.microsoft.com/office/drawing/2014/main" id="{D7467C81-9D88-4140-B42C-28DFB5646475}"/>
              </a:ext>
            </a:extLst>
          </p:cNvPr>
          <p:cNvSpPr>
            <a:spLocks noGrp="1"/>
          </p:cNvSpPr>
          <p:nvPr>
            <p:ph type="body" sz="quarter" idx="30" hasCustomPrompt="1"/>
          </p:nvPr>
        </p:nvSpPr>
        <p:spPr>
          <a:xfrm>
            <a:off x="1194729" y="3577405"/>
            <a:ext cx="6862150" cy="263075"/>
          </a:xfrm>
          <a:prstGeom prst="rect">
            <a:avLst/>
          </a:prstGeom>
        </p:spPr>
        <p:txBody>
          <a:bodyPr lIns="0" tIns="0" rIns="0" bIns="0">
            <a:noAutofit/>
          </a:bodyPr>
          <a:lstStyle>
            <a:lvl1pPr marL="0" indent="0">
              <a:buNone/>
              <a:defRPr sz="1400" b="0" i="0">
                <a:solidFill>
                  <a:schemeClr val="tx1"/>
                </a:solidFill>
                <a:latin typeface="Calibri" panose="020F0502020204030204" pitchFamily="34" charset="0"/>
                <a:cs typeface="Calibri" panose="020F0502020204030204" pitchFamily="34" charset="0"/>
              </a:defRPr>
            </a:lvl1pPr>
            <a:lvl2pPr marL="457068" indent="0">
              <a:buNone/>
              <a:defRPr sz="1400">
                <a:solidFill>
                  <a:schemeClr val="tx1"/>
                </a:solidFill>
              </a:defRPr>
            </a:lvl2pPr>
            <a:lvl3pPr marL="914149" indent="0">
              <a:buNone/>
              <a:defRPr sz="1400">
                <a:solidFill>
                  <a:schemeClr val="tx1"/>
                </a:solidFill>
              </a:defRPr>
            </a:lvl3pPr>
            <a:lvl4pPr marL="1371219" indent="0">
              <a:buNone/>
              <a:defRPr sz="1400">
                <a:solidFill>
                  <a:schemeClr val="tx1"/>
                </a:solidFill>
              </a:defRPr>
            </a:lvl4pPr>
            <a:lvl5pPr marL="1828290" indent="0">
              <a:buNone/>
              <a:defRPr sz="1400">
                <a:solidFill>
                  <a:schemeClr val="tx1"/>
                </a:solidFill>
              </a:defRPr>
            </a:lvl5pPr>
          </a:lstStyle>
          <a:p>
            <a:pPr lvl="0"/>
            <a:r>
              <a:rPr lang="en-US"/>
              <a:t>Presenter Name</a:t>
            </a:r>
          </a:p>
        </p:txBody>
      </p:sp>
      <p:pic>
        <p:nvPicPr>
          <p:cNvPr id="12" name="Picture 11">
            <a:extLst>
              <a:ext uri="{FF2B5EF4-FFF2-40B4-BE49-F238E27FC236}">
                <a16:creationId xmlns:a16="http://schemas.microsoft.com/office/drawing/2014/main" id="{16819C41-2A79-B54D-9C44-C619DA694E6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571921" y="6357944"/>
            <a:ext cx="1958578" cy="117462"/>
          </a:xfrm>
          <a:prstGeom prst="rect">
            <a:avLst/>
          </a:prstGeom>
        </p:spPr>
      </p:pic>
      <p:pic>
        <p:nvPicPr>
          <p:cNvPr id="13" name="Picture 12">
            <a:extLst>
              <a:ext uri="{FF2B5EF4-FFF2-40B4-BE49-F238E27FC236}">
                <a16:creationId xmlns:a16="http://schemas.microsoft.com/office/drawing/2014/main" id="{3D2794BD-1A0D-7D48-855D-469111926BF1}"/>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790516" y="-8600"/>
            <a:ext cx="2251710" cy="1248865"/>
          </a:xfrm>
          <a:prstGeom prst="rect">
            <a:avLst/>
          </a:prstGeom>
        </p:spPr>
      </p:pic>
      <p:sp>
        <p:nvSpPr>
          <p:cNvPr id="14" name="Text Placeholder 2">
            <a:extLst>
              <a:ext uri="{FF2B5EF4-FFF2-40B4-BE49-F238E27FC236}">
                <a16:creationId xmlns:a16="http://schemas.microsoft.com/office/drawing/2014/main" id="{B9909778-A51F-784D-ACA4-EC5DBA48BE16}"/>
              </a:ext>
            </a:extLst>
          </p:cNvPr>
          <p:cNvSpPr>
            <a:spLocks noGrp="1"/>
          </p:cNvSpPr>
          <p:nvPr>
            <p:ph type="body" sz="quarter" idx="16" hasCustomPrompt="1"/>
          </p:nvPr>
        </p:nvSpPr>
        <p:spPr>
          <a:xfrm>
            <a:off x="1194729" y="6319955"/>
            <a:ext cx="7699670" cy="234001"/>
          </a:xfrm>
        </p:spPr>
        <p:txBody>
          <a:bodyPr tIns="0" rIns="0" bIns="0" anchor="ctr" anchorCtr="0">
            <a:noAutofit/>
          </a:bodyPr>
          <a:lstStyle>
            <a:lvl1pPr marL="0" marR="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sz="800"/>
            </a:lvl1pPr>
            <a:lvl2pPr>
              <a:defRPr sz="800"/>
            </a:lvl2pPr>
            <a:lvl3pPr>
              <a:defRPr sz="800"/>
            </a:lvl3pPr>
            <a:lvl4pPr>
              <a:defRPr sz="800"/>
            </a:lvl4pPr>
            <a:lvl5pPr>
              <a:defRPr sz="800"/>
            </a:lvl5pPr>
          </a:lstStyle>
          <a:p>
            <a:pPr marL="0" marR="0" lvl="0" indent="0" algn="l" defTabSz="914150" rtl="0" eaLnBrk="1" fontAlgn="auto" latinLnBrk="0" hangingPunct="1">
              <a:lnSpc>
                <a:spcPct val="100000"/>
              </a:lnSpc>
              <a:spcBef>
                <a:spcPct val="20000"/>
              </a:spcBef>
              <a:spcAft>
                <a:spcPts val="0"/>
              </a:spcAft>
              <a:buClr>
                <a:srgbClr val="4C4948"/>
              </a:buClr>
              <a:buSzTx/>
              <a:buFont typeface="Arial" panose="020B0604020202020204" pitchFamily="34" charset="0"/>
              <a:buNone/>
              <a:tabLst/>
              <a:defRPr/>
            </a:pPr>
            <a:r>
              <a:rPr lang="en-US"/>
              <a:t>Private and confidential. For internal use only.</a:t>
            </a:r>
          </a:p>
        </p:txBody>
      </p:sp>
    </p:spTree>
    <p:extLst>
      <p:ext uri="{BB962C8B-B14F-4D97-AF65-F5344CB8AC3E}">
        <p14:creationId xmlns:p14="http://schemas.microsoft.com/office/powerpoint/2010/main" val="661019747"/>
      </p:ext>
    </p:extLst>
  </p:cSld>
  <p:clrMapOvr>
    <a:masterClrMapping/>
  </p:clrMapOvr>
  <p:transition spd="slow">
    <p:push dir="u"/>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1-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1">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one-column layout. Click to add content</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0" name="スライド番号プレースホルダ 5">
            <a:extLst>
              <a:ext uri="{FF2B5EF4-FFF2-40B4-BE49-F238E27FC236}">
                <a16:creationId xmlns:a16="http://schemas.microsoft.com/office/drawing/2014/main" id="{51A4825E-63A1-564F-BC3A-FBC167ECE5EB}"/>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Rectangle 20">
            <a:extLst>
              <a:ext uri="{FF2B5EF4-FFF2-40B4-BE49-F238E27FC236}">
                <a16:creationId xmlns:a16="http://schemas.microsoft.com/office/drawing/2014/main" id="{FCF9CDB0-5730-E246-B31F-F5963CF8EFDC}"/>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4" name="Text Placeholder 6">
            <a:extLst>
              <a:ext uri="{FF2B5EF4-FFF2-40B4-BE49-F238E27FC236}">
                <a16:creationId xmlns:a16="http://schemas.microsoft.com/office/drawing/2014/main" id="{44EB3013-FCB4-1B4E-A9F2-FD57CF727CCC}"/>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851679422"/>
      </p:ext>
    </p:extLst>
  </p:cSld>
  <p:clrMapOvr>
    <a:masterClrMapping/>
  </p:clrMapOvr>
  <p:transition spd="slow">
    <p:push dir="u"/>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2-Column Text">
    <p:spTree>
      <p:nvGrpSpPr>
        <p:cNvPr id="1" name=""/>
        <p:cNvGrpSpPr/>
        <p:nvPr/>
      </p:nvGrpSpPr>
      <p:grpSpPr>
        <a:xfrm>
          <a:off x="0" y="0"/>
          <a:ext cx="0" cy="0"/>
          <a:chOff x="0" y="0"/>
          <a:chExt cx="0" cy="0"/>
        </a:xfrm>
      </p:grpSpPr>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1102385"/>
            <a:ext cx="11569700" cy="5328857"/>
          </a:xfrm>
          <a:prstGeom prst="rect">
            <a:avLst/>
          </a:prstGeom>
        </p:spPr>
        <p:txBody>
          <a:bodyPr tIns="0" rIns="0" bIns="0" numCol="2" spcCol="540000">
            <a:normAutofit/>
          </a:bodyPr>
          <a:lstStyle>
            <a:lvl1pPr marL="0" indent="0">
              <a:lnSpc>
                <a:spcPct val="100000"/>
              </a:lnSpc>
              <a:spcBef>
                <a:spcPts val="0"/>
              </a:spcBef>
              <a:spcAft>
                <a:spcPts val="600"/>
              </a:spcAft>
              <a:buFont typeface="Arial" panose="020B0604020202020204" pitchFamily="34" charset="0"/>
              <a:buNone/>
              <a:defRPr sz="16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a two-column layout. Click to add content. </a:t>
            </a:r>
          </a:p>
        </p:txBody>
      </p:sp>
      <p:sp>
        <p:nvSpPr>
          <p:cNvPr id="19" name="Footer Placeholder 8">
            <a:extLst>
              <a:ext uri="{FF2B5EF4-FFF2-40B4-BE49-F238E27FC236}">
                <a16:creationId xmlns:a16="http://schemas.microsoft.com/office/drawing/2014/main" id="{CDA06C55-0643-C148-AAB1-C4BB26FD7B26}"/>
              </a:ext>
            </a:extLst>
          </p:cNvPr>
          <p:cNvSpPr>
            <a:spLocks noGrp="1"/>
          </p:cNvSpPr>
          <p:nvPr>
            <p:ph type="ftr" sz="quarter" idx="3"/>
          </p:nvPr>
        </p:nvSpPr>
        <p:spPr>
          <a:xfrm>
            <a:off x="7766050" y="6523001"/>
            <a:ext cx="4114800" cy="196131"/>
          </a:xfrm>
          <a:prstGeom prst="rect">
            <a:avLst/>
          </a:prstGeom>
        </p:spPr>
        <p:txBody>
          <a:bodyPr vert="horz" lIns="0" tIns="0" rIns="0" bIns="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A75F5BF7-D49E-8A49-AE81-CB31E57D5A7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86D2E5B8-9E2B-DB46-A55A-5F26569C4F9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Two-column layout. Click to add title</a:t>
            </a:r>
            <a:endParaRPr kumimoji="1" lang="ja-JP" altLang="en-US"/>
          </a:p>
        </p:txBody>
      </p:sp>
      <p:sp>
        <p:nvSpPr>
          <p:cNvPr id="13" name="Rectangle 12">
            <a:extLst>
              <a:ext uri="{FF2B5EF4-FFF2-40B4-BE49-F238E27FC236}">
                <a16:creationId xmlns:a16="http://schemas.microsoft.com/office/drawing/2014/main" id="{F49634AC-7DDA-D44D-88DB-5850289DD64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0" name="スライド番号プレースホルダ 5">
            <a:extLst>
              <a:ext uri="{FF2B5EF4-FFF2-40B4-BE49-F238E27FC236}">
                <a16:creationId xmlns:a16="http://schemas.microsoft.com/office/drawing/2014/main" id="{E22A984C-7436-8C4C-83C8-F2AD6759204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1" name="Text Placeholder 6">
            <a:extLst>
              <a:ext uri="{FF2B5EF4-FFF2-40B4-BE49-F238E27FC236}">
                <a16:creationId xmlns:a16="http://schemas.microsoft.com/office/drawing/2014/main" id="{0A6720AD-4FA4-A146-AEEB-A4E558BAA3EA}"/>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Tree>
    <p:extLst>
      <p:ext uri="{BB962C8B-B14F-4D97-AF65-F5344CB8AC3E}">
        <p14:creationId xmlns:p14="http://schemas.microsoft.com/office/powerpoint/2010/main" val="1208037409"/>
      </p:ext>
    </p:extLst>
  </p:cSld>
  <p:clrMapOvr>
    <a:masterClrMapping/>
  </p:clrMapOvr>
  <p:transition spd="slow">
    <p:push dir="u"/>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33" name="Title 1">
            <a:extLst>
              <a:ext uri="{FF2B5EF4-FFF2-40B4-BE49-F238E27FC236}">
                <a16:creationId xmlns:a16="http://schemas.microsoft.com/office/drawing/2014/main" id="{E02383DA-65B3-044E-9E1B-2CC00A0B1CC6}"/>
              </a:ext>
            </a:extLst>
          </p:cNvPr>
          <p:cNvSpPr>
            <a:spLocks noGrp="1"/>
          </p:cNvSpPr>
          <p:nvPr>
            <p:ph type="ctrTitle" hasCustomPrompt="1"/>
          </p:nvPr>
        </p:nvSpPr>
        <p:spPr>
          <a:xfrm>
            <a:off x="1194730" y="2303030"/>
            <a:ext cx="4354731" cy="2279130"/>
          </a:xfrm>
          <a:prstGeom prst="rect">
            <a:avLst/>
          </a:prstGeom>
        </p:spPr>
        <p:txBody>
          <a:bodyPr wrap="square" lIns="0" tIns="0" rIns="0" bIns="0" anchor="ctr" anchorCtr="0">
            <a:normAutofit/>
          </a:bodyPr>
          <a:lstStyle>
            <a:lvl1pPr>
              <a:lnSpc>
                <a:spcPts val="3800"/>
              </a:lnSpc>
              <a:defRPr sz="3600" b="1" i="0" baseline="0">
                <a:solidFill>
                  <a:schemeClr val="tx1"/>
                </a:solidFill>
                <a:latin typeface="Calibri" panose="020F0502020204030204" pitchFamily="34" charset="0"/>
                <a:ea typeface="メイリオ" pitchFamily="50" charset="-128"/>
                <a:cs typeface="Calibri" pitchFamily="34" charset="0"/>
              </a:defRPr>
            </a:lvl1pPr>
          </a:lstStyle>
          <a:p>
            <a:r>
              <a:rPr lang="en-GB"/>
              <a:t>Click to add section title</a:t>
            </a:r>
          </a:p>
        </p:txBody>
      </p:sp>
      <p:sp>
        <p:nvSpPr>
          <p:cNvPr id="28" name="Rectangle 27">
            <a:extLst>
              <a:ext uri="{FF2B5EF4-FFF2-40B4-BE49-F238E27FC236}">
                <a16:creationId xmlns:a16="http://schemas.microsoft.com/office/drawing/2014/main" id="{92F9C2FE-7E43-3948-92F0-0CEA804BDBFE}"/>
              </a:ext>
            </a:extLst>
          </p:cNvPr>
          <p:cNvSpPr/>
          <p:nvPr userDrawn="1"/>
        </p:nvSpPr>
        <p:spPr>
          <a:xfrm>
            <a:off x="749005" y="2110246"/>
            <a:ext cx="97200" cy="270718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kumimoji="0" lang="en-US" altLang="en-US" sz="1800">
              <a:solidFill>
                <a:srgbClr val="FFFFFF"/>
              </a:solidFill>
            </a:endParaRPr>
          </a:p>
        </p:txBody>
      </p:sp>
      <p:sp>
        <p:nvSpPr>
          <p:cNvPr id="13" name="Picture Placeholder 9">
            <a:extLst>
              <a:ext uri="{FF2B5EF4-FFF2-40B4-BE49-F238E27FC236}">
                <a16:creationId xmlns:a16="http://schemas.microsoft.com/office/drawing/2014/main" id="{46656F8F-0621-5F47-BF80-4A4E365A2D91}"/>
              </a:ext>
            </a:extLst>
          </p:cNvPr>
          <p:cNvSpPr>
            <a:spLocks noGrp="1"/>
          </p:cNvSpPr>
          <p:nvPr>
            <p:ph type="pic" sz="quarter" idx="10"/>
          </p:nvPr>
        </p:nvSpPr>
        <p:spPr>
          <a:xfrm>
            <a:off x="6642541" y="-1"/>
            <a:ext cx="5565823" cy="6416675"/>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64472"/>
              <a:gd name="connsiteY0" fmla="*/ 0 h 6630428"/>
              <a:gd name="connsiteX1" fmla="*/ 11864472 w 11864472"/>
              <a:gd name="connsiteY1" fmla="*/ 188353 h 6630428"/>
              <a:gd name="connsiteX2" fmla="*/ 11855613 w 11864472"/>
              <a:gd name="connsiteY2" fmla="*/ 6628774 h 6630428"/>
              <a:gd name="connsiteX3" fmla="*/ 579722 w 11864472"/>
              <a:gd name="connsiteY3" fmla="*/ 6630428 h 6630428"/>
              <a:gd name="connsiteX4" fmla="*/ 0 w 11864472"/>
              <a:gd name="connsiteY4" fmla="*/ 6050706 h 6630428"/>
              <a:gd name="connsiteX5" fmla="*/ 0 w 11864472"/>
              <a:gd name="connsiteY5" fmla="*/ 0 h 6630428"/>
              <a:gd name="connsiteX0" fmla="*/ 0 w 11864472"/>
              <a:gd name="connsiteY0" fmla="*/ 13527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527 h 6643955"/>
              <a:gd name="connsiteX0" fmla="*/ 0 w 11864472"/>
              <a:gd name="connsiteY0" fmla="*/ 1319813 h 6643955"/>
              <a:gd name="connsiteX1" fmla="*/ 11864472 w 11864472"/>
              <a:gd name="connsiteY1" fmla="*/ 0 h 6643955"/>
              <a:gd name="connsiteX2" fmla="*/ 11855613 w 11864472"/>
              <a:gd name="connsiteY2" fmla="*/ 6642301 h 6643955"/>
              <a:gd name="connsiteX3" fmla="*/ 579722 w 11864472"/>
              <a:gd name="connsiteY3" fmla="*/ 6643955 h 6643955"/>
              <a:gd name="connsiteX4" fmla="*/ 0 w 11864472"/>
              <a:gd name="connsiteY4" fmla="*/ 6064233 h 6643955"/>
              <a:gd name="connsiteX5" fmla="*/ 0 w 11864472"/>
              <a:gd name="connsiteY5" fmla="*/ 1319813 h 6643955"/>
              <a:gd name="connsiteX0" fmla="*/ 0 w 11864472"/>
              <a:gd name="connsiteY0" fmla="*/ 135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3527 h 5337669"/>
              <a:gd name="connsiteX0" fmla="*/ 0 w 11864472"/>
              <a:gd name="connsiteY0" fmla="*/ 1652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1652 h 5337669"/>
              <a:gd name="connsiteX0" fmla="*/ 0 w 11864472"/>
              <a:gd name="connsiteY0" fmla="*/ 2201927 h 5337669"/>
              <a:gd name="connsiteX1" fmla="*/ 11864472 w 11864472"/>
              <a:gd name="connsiteY1" fmla="*/ 0 h 5337669"/>
              <a:gd name="connsiteX2" fmla="*/ 11855613 w 11864472"/>
              <a:gd name="connsiteY2" fmla="*/ 5336015 h 5337669"/>
              <a:gd name="connsiteX3" fmla="*/ 579722 w 11864472"/>
              <a:gd name="connsiteY3" fmla="*/ 5337669 h 5337669"/>
              <a:gd name="connsiteX4" fmla="*/ 0 w 11864472"/>
              <a:gd name="connsiteY4" fmla="*/ 4757947 h 5337669"/>
              <a:gd name="connsiteX5" fmla="*/ 0 w 11864472"/>
              <a:gd name="connsiteY5" fmla="*/ 2201927 h 5337669"/>
              <a:gd name="connsiteX0" fmla="*/ 0 w 11864472"/>
              <a:gd name="connsiteY0" fmla="*/ 1652 h 3137394"/>
              <a:gd name="connsiteX1" fmla="*/ 11864472 w 11864472"/>
              <a:gd name="connsiteY1" fmla="*/ 0 h 3137394"/>
              <a:gd name="connsiteX2" fmla="*/ 11855613 w 11864472"/>
              <a:gd name="connsiteY2" fmla="*/ 3135740 h 3137394"/>
              <a:gd name="connsiteX3" fmla="*/ 579722 w 11864472"/>
              <a:gd name="connsiteY3" fmla="*/ 3137394 h 3137394"/>
              <a:gd name="connsiteX4" fmla="*/ 0 w 11864472"/>
              <a:gd name="connsiteY4" fmla="*/ 2557672 h 3137394"/>
              <a:gd name="connsiteX5" fmla="*/ 0 w 11864472"/>
              <a:gd name="connsiteY5" fmla="*/ 1652 h 3137394"/>
              <a:gd name="connsiteX0" fmla="*/ 0 w 11864472"/>
              <a:gd name="connsiteY0" fmla="*/ 0 h 3420555"/>
              <a:gd name="connsiteX1" fmla="*/ 11864472 w 11864472"/>
              <a:gd name="connsiteY1" fmla="*/ 283161 h 3420555"/>
              <a:gd name="connsiteX2" fmla="*/ 11855613 w 11864472"/>
              <a:gd name="connsiteY2" fmla="*/ 3418901 h 3420555"/>
              <a:gd name="connsiteX3" fmla="*/ 579722 w 11864472"/>
              <a:gd name="connsiteY3" fmla="*/ 3420555 h 3420555"/>
              <a:gd name="connsiteX4" fmla="*/ 0 w 11864472"/>
              <a:gd name="connsiteY4" fmla="*/ 2840833 h 3420555"/>
              <a:gd name="connsiteX5" fmla="*/ 0 w 11864472"/>
              <a:gd name="connsiteY5" fmla="*/ 0 h 3420555"/>
              <a:gd name="connsiteX0" fmla="*/ 0 w 11864472"/>
              <a:gd name="connsiteY0" fmla="*/ 1652 h 3422207"/>
              <a:gd name="connsiteX1" fmla="*/ 11864472 w 11864472"/>
              <a:gd name="connsiteY1" fmla="*/ 0 h 3422207"/>
              <a:gd name="connsiteX2" fmla="*/ 11855613 w 11864472"/>
              <a:gd name="connsiteY2" fmla="*/ 3420553 h 3422207"/>
              <a:gd name="connsiteX3" fmla="*/ 579722 w 11864472"/>
              <a:gd name="connsiteY3" fmla="*/ 3422207 h 3422207"/>
              <a:gd name="connsiteX4" fmla="*/ 0 w 11864472"/>
              <a:gd name="connsiteY4" fmla="*/ 2842485 h 3422207"/>
              <a:gd name="connsiteX5" fmla="*/ 0 w 11864472"/>
              <a:gd name="connsiteY5" fmla="*/ 1652 h 3422207"/>
              <a:gd name="connsiteX0" fmla="*/ 0 w 11855613"/>
              <a:gd name="connsiteY0" fmla="*/ 0 h 3420555"/>
              <a:gd name="connsiteX1" fmla="*/ 11834492 w 11855613"/>
              <a:gd name="connsiteY1" fmla="*/ 58309 h 3420555"/>
              <a:gd name="connsiteX2" fmla="*/ 11855613 w 11855613"/>
              <a:gd name="connsiteY2" fmla="*/ 3418901 h 3420555"/>
              <a:gd name="connsiteX3" fmla="*/ 579722 w 11855613"/>
              <a:gd name="connsiteY3" fmla="*/ 3420555 h 3420555"/>
              <a:gd name="connsiteX4" fmla="*/ 0 w 11855613"/>
              <a:gd name="connsiteY4" fmla="*/ 2840833 h 3420555"/>
              <a:gd name="connsiteX5" fmla="*/ 0 w 11855613"/>
              <a:gd name="connsiteY5" fmla="*/ 0 h 3420555"/>
              <a:gd name="connsiteX0" fmla="*/ 0 w 11855613"/>
              <a:gd name="connsiteY0" fmla="*/ 1652 h 3362246"/>
              <a:gd name="connsiteX1" fmla="*/ 11834492 w 11855613"/>
              <a:gd name="connsiteY1" fmla="*/ 0 h 3362246"/>
              <a:gd name="connsiteX2" fmla="*/ 11855613 w 11855613"/>
              <a:gd name="connsiteY2" fmla="*/ 3360592 h 3362246"/>
              <a:gd name="connsiteX3" fmla="*/ 579722 w 11855613"/>
              <a:gd name="connsiteY3" fmla="*/ 3362246 h 3362246"/>
              <a:gd name="connsiteX4" fmla="*/ 0 w 11855613"/>
              <a:gd name="connsiteY4" fmla="*/ 2782524 h 3362246"/>
              <a:gd name="connsiteX5" fmla="*/ 0 w 11855613"/>
              <a:gd name="connsiteY5" fmla="*/ 1652 h 3362246"/>
              <a:gd name="connsiteX0" fmla="*/ 0 w 11864473"/>
              <a:gd name="connsiteY0" fmla="*/ 0 h 3360594"/>
              <a:gd name="connsiteX1" fmla="*/ 11864473 w 11864473"/>
              <a:gd name="connsiteY1" fmla="*/ 13338 h 3360594"/>
              <a:gd name="connsiteX2" fmla="*/ 11855613 w 11864473"/>
              <a:gd name="connsiteY2" fmla="*/ 3358940 h 3360594"/>
              <a:gd name="connsiteX3" fmla="*/ 579722 w 11864473"/>
              <a:gd name="connsiteY3" fmla="*/ 3360594 h 3360594"/>
              <a:gd name="connsiteX4" fmla="*/ 0 w 11864473"/>
              <a:gd name="connsiteY4" fmla="*/ 2780872 h 3360594"/>
              <a:gd name="connsiteX5" fmla="*/ 0 w 11864473"/>
              <a:gd name="connsiteY5" fmla="*/ 0 h 3360594"/>
              <a:gd name="connsiteX0" fmla="*/ 0 w 11864473"/>
              <a:gd name="connsiteY0" fmla="*/ 1652 h 3362246"/>
              <a:gd name="connsiteX1" fmla="*/ 11864473 w 11864473"/>
              <a:gd name="connsiteY1" fmla="*/ 0 h 3362246"/>
              <a:gd name="connsiteX2" fmla="*/ 11855613 w 11864473"/>
              <a:gd name="connsiteY2" fmla="*/ 3360592 h 3362246"/>
              <a:gd name="connsiteX3" fmla="*/ 579722 w 11864473"/>
              <a:gd name="connsiteY3" fmla="*/ 3362246 h 3362246"/>
              <a:gd name="connsiteX4" fmla="*/ 0 w 11864473"/>
              <a:gd name="connsiteY4" fmla="*/ 2782524 h 3362246"/>
              <a:gd name="connsiteX5" fmla="*/ 0 w 11864473"/>
              <a:gd name="connsiteY5" fmla="*/ 1652 h 3362246"/>
              <a:gd name="connsiteX0" fmla="*/ 0 w 11855629"/>
              <a:gd name="connsiteY0" fmla="*/ 1652 h 3362246"/>
              <a:gd name="connsiteX1" fmla="*/ 11459359 w 11855629"/>
              <a:gd name="connsiteY1" fmla="*/ 0 h 3362246"/>
              <a:gd name="connsiteX2" fmla="*/ 11855613 w 11855629"/>
              <a:gd name="connsiteY2" fmla="*/ 3360592 h 3362246"/>
              <a:gd name="connsiteX3" fmla="*/ 579722 w 11855629"/>
              <a:gd name="connsiteY3" fmla="*/ 3362246 h 3362246"/>
              <a:gd name="connsiteX4" fmla="*/ 0 w 11855629"/>
              <a:gd name="connsiteY4" fmla="*/ 2782524 h 3362246"/>
              <a:gd name="connsiteX5" fmla="*/ 0 w 1185562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57972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2246"/>
              <a:gd name="connsiteX1" fmla="*/ 11459359 w 11459359"/>
              <a:gd name="connsiteY1" fmla="*/ 0 h 3362246"/>
              <a:gd name="connsiteX2" fmla="*/ 11438924 w 11459359"/>
              <a:gd name="connsiteY2" fmla="*/ 3360592 h 3362246"/>
              <a:gd name="connsiteX3" fmla="*/ 1584742 w 11459359"/>
              <a:gd name="connsiteY3" fmla="*/ 3362246 h 3362246"/>
              <a:gd name="connsiteX4" fmla="*/ 0 w 11459359"/>
              <a:gd name="connsiteY4" fmla="*/ 2782524 h 3362246"/>
              <a:gd name="connsiteX5" fmla="*/ 0 w 11459359"/>
              <a:gd name="connsiteY5" fmla="*/ 1652 h 3362246"/>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782524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 name="connsiteX0" fmla="*/ 0 w 11459359"/>
              <a:gd name="connsiteY0" fmla="*/ 1652 h 3360592"/>
              <a:gd name="connsiteX1" fmla="*/ 11459359 w 11459359"/>
              <a:gd name="connsiteY1" fmla="*/ 0 h 3360592"/>
              <a:gd name="connsiteX2" fmla="*/ 11438924 w 11459359"/>
              <a:gd name="connsiteY2" fmla="*/ 3360592 h 3360592"/>
              <a:gd name="connsiteX3" fmla="*/ 1188396 w 11459359"/>
              <a:gd name="connsiteY3" fmla="*/ 3358591 h 3360592"/>
              <a:gd name="connsiteX4" fmla="*/ 0 w 11459359"/>
              <a:gd name="connsiteY4" fmla="*/ 2946995 h 3360592"/>
              <a:gd name="connsiteX5" fmla="*/ 0 w 11459359"/>
              <a:gd name="connsiteY5" fmla="*/ 1652 h 33605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59359" h="3360592">
                <a:moveTo>
                  <a:pt x="0" y="1652"/>
                </a:moveTo>
                <a:lnTo>
                  <a:pt x="11459359" y="0"/>
                </a:lnTo>
                <a:cubicBezTo>
                  <a:pt x="11456406" y="1115201"/>
                  <a:pt x="11441877" y="2245391"/>
                  <a:pt x="11438924" y="3360592"/>
                </a:cubicBezTo>
                <a:lnTo>
                  <a:pt x="1188396" y="3358591"/>
                </a:lnTo>
                <a:cubicBezTo>
                  <a:pt x="848612" y="3356903"/>
                  <a:pt x="0" y="3267167"/>
                  <a:pt x="0" y="2946995"/>
                </a:cubicBezTo>
                <a:lnTo>
                  <a:pt x="0" y="1652"/>
                </a:lnTo>
                <a:close/>
              </a:path>
            </a:pathLst>
          </a:custGeom>
          <a:noFill/>
        </p:spPr>
        <p:txBody>
          <a:bodyPr/>
          <a:lstStyle>
            <a:lvl1pPr marL="0" indent="0">
              <a:buNone/>
              <a:defRPr sz="2400">
                <a:solidFill>
                  <a:schemeClr val="bg1"/>
                </a:solidFill>
              </a:defRPr>
            </a:lvl1pPr>
          </a:lstStyle>
          <a:p>
            <a:r>
              <a:rPr lang="zh-CN" altLang="en-US"/>
              <a:t>单击图标添加图片</a:t>
            </a:r>
            <a:endParaRPr lang="en-JP"/>
          </a:p>
        </p:txBody>
      </p:sp>
    </p:spTree>
    <p:extLst>
      <p:ext uri="{BB962C8B-B14F-4D97-AF65-F5344CB8AC3E}">
        <p14:creationId xmlns:p14="http://schemas.microsoft.com/office/powerpoint/2010/main" val="3341281494"/>
      </p:ext>
    </p:extLst>
  </p:cSld>
  <p:clrMapOvr>
    <a:masterClrMapping/>
  </p:clrMapOvr>
  <p:transition spd="slow">
    <p:push dir="u"/>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0A5DA52-BBAF-EA48-AEC6-EA08F428CF57}"/>
              </a:ext>
            </a:extLst>
          </p:cNvPr>
          <p:cNvSpPr>
            <a:spLocks noGrp="1"/>
          </p:cNvSpPr>
          <p:nvPr>
            <p:ph type="body" sz="quarter" idx="10" hasCustomPrompt="1"/>
          </p:nvPr>
        </p:nvSpPr>
        <p:spPr>
          <a:xfrm>
            <a:off x="300038" y="371959"/>
            <a:ext cx="11591925" cy="6044716"/>
          </a:xfrm>
          <a:prstGeom prst="rect">
            <a:avLst/>
          </a:prstGeom>
        </p:spPr>
        <p:txBody>
          <a:bodyPr anchor="ctr" anchorCtr="0"/>
          <a:lstStyle>
            <a:lvl1pPr marL="0" indent="0" algn="ctr">
              <a:lnSpc>
                <a:spcPct val="100000"/>
              </a:lnSpc>
              <a:buNone/>
              <a:defRPr sz="3000"/>
            </a:lvl1pPr>
          </a:lstStyle>
          <a:p>
            <a:pPr lvl="0"/>
            <a:r>
              <a:rPr lang="en-US"/>
              <a:t>Blank slide</a:t>
            </a:r>
            <a:endParaRPr lang="en-JP"/>
          </a:p>
        </p:txBody>
      </p:sp>
    </p:spTree>
    <p:extLst>
      <p:ext uri="{BB962C8B-B14F-4D97-AF65-F5344CB8AC3E}">
        <p14:creationId xmlns:p14="http://schemas.microsoft.com/office/powerpoint/2010/main" val="3226569479"/>
      </p:ext>
    </p:extLst>
  </p:cSld>
  <p:clrMapOvr>
    <a:masterClrMapping/>
  </p:clrMapOvr>
  <p:transition spd="slow">
    <p:push dir="u"/>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dvanced 3-Column Tex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5708650"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49"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7" name="Text Placeholder 6">
            <a:extLst>
              <a:ext uri="{FF2B5EF4-FFF2-40B4-BE49-F238E27FC236}">
                <a16:creationId xmlns:a16="http://schemas.microsoft.com/office/drawing/2014/main" id="{3BB454FD-9C16-FC47-B46E-6675394572BB}"/>
              </a:ext>
            </a:extLst>
          </p:cNvPr>
          <p:cNvSpPr>
            <a:spLocks noGrp="1"/>
          </p:cNvSpPr>
          <p:nvPr>
            <p:ph type="body" sz="quarter" idx="18" hasCustomPrompt="1"/>
          </p:nvPr>
        </p:nvSpPr>
        <p:spPr>
          <a:xfrm>
            <a:off x="4213726"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18" name="Text Placeholder 6">
            <a:extLst>
              <a:ext uri="{FF2B5EF4-FFF2-40B4-BE49-F238E27FC236}">
                <a16:creationId xmlns:a16="http://schemas.microsoft.com/office/drawing/2014/main" id="{568F3A49-7287-1C4D-93C8-50E3C0B4F15A}"/>
              </a:ext>
            </a:extLst>
          </p:cNvPr>
          <p:cNvSpPr>
            <a:spLocks noGrp="1"/>
          </p:cNvSpPr>
          <p:nvPr>
            <p:ph type="body" sz="quarter" idx="19" hasCustomPrompt="1"/>
          </p:nvPr>
        </p:nvSpPr>
        <p:spPr>
          <a:xfrm>
            <a:off x="8099967" y="3575904"/>
            <a:ext cx="3763545"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1" name="Footer Placeholder 8">
            <a:extLst>
              <a:ext uri="{FF2B5EF4-FFF2-40B4-BE49-F238E27FC236}">
                <a16:creationId xmlns:a16="http://schemas.microsoft.com/office/drawing/2014/main" id="{519BC59F-4516-0043-8BAC-F9FE45B6A9F4}"/>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0E2D4ABB-BC5B-754B-B0DE-676246A38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4" name="タイトル プレースホルダ 1">
            <a:extLst>
              <a:ext uri="{FF2B5EF4-FFF2-40B4-BE49-F238E27FC236}">
                <a16:creationId xmlns:a16="http://schemas.microsoft.com/office/drawing/2014/main" id="{CC986DF6-9894-F144-B9DA-A9DBE0000AB8}"/>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3" name="Rectangle 22">
            <a:extLst>
              <a:ext uri="{FF2B5EF4-FFF2-40B4-BE49-F238E27FC236}">
                <a16:creationId xmlns:a16="http://schemas.microsoft.com/office/drawing/2014/main" id="{886528CE-2840-6C44-965A-04D8835743E3}"/>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7" name="スライド番号プレースホルダ 5">
            <a:extLst>
              <a:ext uri="{FF2B5EF4-FFF2-40B4-BE49-F238E27FC236}">
                <a16:creationId xmlns:a16="http://schemas.microsoft.com/office/drawing/2014/main" id="{854E474F-30B0-604E-9699-287AC57CAAFA}"/>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8" name="Text Placeholder 6">
            <a:extLst>
              <a:ext uri="{FF2B5EF4-FFF2-40B4-BE49-F238E27FC236}">
                <a16:creationId xmlns:a16="http://schemas.microsoft.com/office/drawing/2014/main" id="{C9681050-C142-4F4F-B3C6-6F52F3C55CD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22" name="Text Placeholder 2">
            <a:extLst>
              <a:ext uri="{FF2B5EF4-FFF2-40B4-BE49-F238E27FC236}">
                <a16:creationId xmlns:a16="http://schemas.microsoft.com/office/drawing/2014/main" id="{110504E2-40F0-054E-8424-D247EF2CA216}"/>
              </a:ext>
            </a:extLst>
          </p:cNvPr>
          <p:cNvSpPr>
            <a:spLocks noGrp="1"/>
          </p:cNvSpPr>
          <p:nvPr>
            <p:ph type="body" sz="quarter" idx="20" hasCustomPrompt="1"/>
          </p:nvPr>
        </p:nvSpPr>
        <p:spPr>
          <a:xfrm>
            <a:off x="311151" y="1491373"/>
            <a:ext cx="11569700"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25" name="Text Placeholder 6">
            <a:extLst>
              <a:ext uri="{FF2B5EF4-FFF2-40B4-BE49-F238E27FC236}">
                <a16:creationId xmlns:a16="http://schemas.microsoft.com/office/drawing/2014/main" id="{073E75F2-7FFB-DC4C-8964-799372FCF583}"/>
              </a:ext>
            </a:extLst>
          </p:cNvPr>
          <p:cNvSpPr>
            <a:spLocks noGrp="1"/>
          </p:cNvSpPr>
          <p:nvPr>
            <p:ph type="body" sz="quarter" idx="21" hasCustomPrompt="1"/>
          </p:nvPr>
        </p:nvSpPr>
        <p:spPr>
          <a:xfrm>
            <a:off x="311150" y="1093767"/>
            <a:ext cx="11569700"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1306322833"/>
      </p:ext>
    </p:extLst>
  </p:cSld>
  <p:clrMapOvr>
    <a:masterClrMapping/>
  </p:clrMapOvr>
  <p:transition spd="slow">
    <p:push dir="u"/>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dvanced 2/3 Image">
    <p:spTree>
      <p:nvGrpSpPr>
        <p:cNvPr id="1" name=""/>
        <p:cNvGrpSpPr/>
        <p:nvPr/>
      </p:nvGrpSpPr>
      <p:grpSpPr>
        <a:xfrm>
          <a:off x="0" y="0"/>
          <a:ext cx="0" cy="0"/>
          <a:chOff x="0" y="0"/>
          <a:chExt cx="0" cy="0"/>
        </a:xfrm>
      </p:grpSpPr>
      <p:sp>
        <p:nvSpPr>
          <p:cNvPr id="13" name="Picture Placeholder 9">
            <a:extLst>
              <a:ext uri="{FF2B5EF4-FFF2-40B4-BE49-F238E27FC236}">
                <a16:creationId xmlns:a16="http://schemas.microsoft.com/office/drawing/2014/main" id="{B3311DE3-EC35-4C49-805E-57AB2D90E99E}"/>
              </a:ext>
            </a:extLst>
          </p:cNvPr>
          <p:cNvSpPr>
            <a:spLocks noGrp="1"/>
          </p:cNvSpPr>
          <p:nvPr>
            <p:ph type="pic" sz="quarter" idx="10" hasCustomPrompt="1"/>
          </p:nvPr>
        </p:nvSpPr>
        <p:spPr>
          <a:xfrm>
            <a:off x="4210743" y="1093767"/>
            <a:ext cx="7988356" cy="5322908"/>
          </a:xfrm>
          <a:custGeom>
            <a:avLst/>
            <a:gdLst>
              <a:gd name="connsiteX0" fmla="*/ 0 w 10888662"/>
              <a:gd name="connsiteY0" fmla="*/ 579722 h 6442075"/>
              <a:gd name="connsiteX1" fmla="*/ 579722 w 10888662"/>
              <a:gd name="connsiteY1" fmla="*/ 0 h 6442075"/>
              <a:gd name="connsiteX2" fmla="*/ 10308940 w 10888662"/>
              <a:gd name="connsiteY2" fmla="*/ 0 h 6442075"/>
              <a:gd name="connsiteX3" fmla="*/ 10888662 w 10888662"/>
              <a:gd name="connsiteY3" fmla="*/ 579722 h 6442075"/>
              <a:gd name="connsiteX4" fmla="*/ 10888662 w 10888662"/>
              <a:gd name="connsiteY4" fmla="*/ 5862353 h 6442075"/>
              <a:gd name="connsiteX5" fmla="*/ 10308940 w 10888662"/>
              <a:gd name="connsiteY5" fmla="*/ 6442075 h 6442075"/>
              <a:gd name="connsiteX6" fmla="*/ 579722 w 10888662"/>
              <a:gd name="connsiteY6" fmla="*/ 6442075 h 6442075"/>
              <a:gd name="connsiteX7" fmla="*/ 0 w 10888662"/>
              <a:gd name="connsiteY7" fmla="*/ 5862353 h 6442075"/>
              <a:gd name="connsiteX8" fmla="*/ 0 w 10888662"/>
              <a:gd name="connsiteY8" fmla="*/ 579722 h 6442075"/>
              <a:gd name="connsiteX0" fmla="*/ 0 w 10888662"/>
              <a:gd name="connsiteY0" fmla="*/ 659657 h 6522010"/>
              <a:gd name="connsiteX1" fmla="*/ 10308940 w 10888662"/>
              <a:gd name="connsiteY1" fmla="*/ 79935 h 6522010"/>
              <a:gd name="connsiteX2" fmla="*/ 10888662 w 10888662"/>
              <a:gd name="connsiteY2" fmla="*/ 659657 h 6522010"/>
              <a:gd name="connsiteX3" fmla="*/ 10888662 w 10888662"/>
              <a:gd name="connsiteY3" fmla="*/ 5942288 h 6522010"/>
              <a:gd name="connsiteX4" fmla="*/ 10308940 w 10888662"/>
              <a:gd name="connsiteY4" fmla="*/ 6522010 h 6522010"/>
              <a:gd name="connsiteX5" fmla="*/ 579722 w 10888662"/>
              <a:gd name="connsiteY5" fmla="*/ 6522010 h 6522010"/>
              <a:gd name="connsiteX6" fmla="*/ 0 w 10888662"/>
              <a:gd name="connsiteY6" fmla="*/ 5942288 h 6522010"/>
              <a:gd name="connsiteX7" fmla="*/ 0 w 10888662"/>
              <a:gd name="connsiteY7" fmla="*/ 659657 h 6522010"/>
              <a:gd name="connsiteX0" fmla="*/ 0 w 10888662"/>
              <a:gd name="connsiteY0" fmla="*/ 579722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579722 h 6442075"/>
              <a:gd name="connsiteX0" fmla="*/ 0 w 10888662"/>
              <a:gd name="connsiteY0" fmla="*/ 129257 h 6569679"/>
              <a:gd name="connsiteX1" fmla="*/ 10308940 w 10888662"/>
              <a:gd name="connsiteY1" fmla="*/ 127604 h 6569679"/>
              <a:gd name="connsiteX2" fmla="*/ 10888662 w 10888662"/>
              <a:gd name="connsiteY2" fmla="*/ 707326 h 6569679"/>
              <a:gd name="connsiteX3" fmla="*/ 10888662 w 10888662"/>
              <a:gd name="connsiteY3" fmla="*/ 5989957 h 6569679"/>
              <a:gd name="connsiteX4" fmla="*/ 10308940 w 10888662"/>
              <a:gd name="connsiteY4" fmla="*/ 6569679 h 6569679"/>
              <a:gd name="connsiteX5" fmla="*/ 579722 w 10888662"/>
              <a:gd name="connsiteY5" fmla="*/ 6569679 h 6569679"/>
              <a:gd name="connsiteX6" fmla="*/ 0 w 10888662"/>
              <a:gd name="connsiteY6" fmla="*/ 5989957 h 6569679"/>
              <a:gd name="connsiteX7" fmla="*/ 0 w 10888662"/>
              <a:gd name="connsiteY7" fmla="*/ 129257 h 6569679"/>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10308940 w 10888662"/>
              <a:gd name="connsiteY4" fmla="*/ 64420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9657299 w 10888662"/>
              <a:gd name="connsiteY4" fmla="*/ 5527675 h 6442075"/>
              <a:gd name="connsiteX5" fmla="*/ 579722 w 10888662"/>
              <a:gd name="connsiteY5" fmla="*/ 6442075 h 6442075"/>
              <a:gd name="connsiteX6" fmla="*/ 0 w 10888662"/>
              <a:gd name="connsiteY6" fmla="*/ 5862353 h 6442075"/>
              <a:gd name="connsiteX7" fmla="*/ 0 w 10888662"/>
              <a:gd name="connsiteY7" fmla="*/ 1653 h 6442075"/>
              <a:gd name="connsiteX0" fmla="*/ 0 w 10888662"/>
              <a:gd name="connsiteY0" fmla="*/ 1653 h 6522010"/>
              <a:gd name="connsiteX1" fmla="*/ 10308940 w 10888662"/>
              <a:gd name="connsiteY1" fmla="*/ 0 h 6522010"/>
              <a:gd name="connsiteX2" fmla="*/ 10888662 w 10888662"/>
              <a:gd name="connsiteY2" fmla="*/ 579722 h 6522010"/>
              <a:gd name="connsiteX3" fmla="*/ 10888662 w 10888662"/>
              <a:gd name="connsiteY3" fmla="*/ 5862353 h 6522010"/>
              <a:gd name="connsiteX4" fmla="*/ 579722 w 10888662"/>
              <a:gd name="connsiteY4" fmla="*/ 6442075 h 6522010"/>
              <a:gd name="connsiteX5" fmla="*/ 0 w 10888662"/>
              <a:gd name="connsiteY5" fmla="*/ 5862353 h 6522010"/>
              <a:gd name="connsiteX6" fmla="*/ 0 w 10888662"/>
              <a:gd name="connsiteY6" fmla="*/ 1653 h 6522010"/>
              <a:gd name="connsiteX0" fmla="*/ 0 w 10888662"/>
              <a:gd name="connsiteY0" fmla="*/ 1653 h 6442075"/>
              <a:gd name="connsiteX1" fmla="*/ 10308940 w 10888662"/>
              <a:gd name="connsiteY1" fmla="*/ 0 h 6442075"/>
              <a:gd name="connsiteX2" fmla="*/ 10888662 w 10888662"/>
              <a:gd name="connsiteY2" fmla="*/ 579722 h 6442075"/>
              <a:gd name="connsiteX3" fmla="*/ 10888662 w 10888662"/>
              <a:gd name="connsiteY3" fmla="*/ 5862353 h 6442075"/>
              <a:gd name="connsiteX4" fmla="*/ 579722 w 10888662"/>
              <a:gd name="connsiteY4" fmla="*/ 6442075 h 6442075"/>
              <a:gd name="connsiteX5" fmla="*/ 0 w 10888662"/>
              <a:gd name="connsiteY5" fmla="*/ 5862353 h 6442075"/>
              <a:gd name="connsiteX6" fmla="*/ 0 w 10888662"/>
              <a:gd name="connsiteY6" fmla="*/ 1653 h 6442075"/>
              <a:gd name="connsiteX0" fmla="*/ 0 w 10888662"/>
              <a:gd name="connsiteY0" fmla="*/ 1653 h 6585432"/>
              <a:gd name="connsiteX1" fmla="*/ 10308940 w 10888662"/>
              <a:gd name="connsiteY1" fmla="*/ 0 h 6585432"/>
              <a:gd name="connsiteX2" fmla="*/ 10888662 w 10888662"/>
              <a:gd name="connsiteY2" fmla="*/ 579722 h 6585432"/>
              <a:gd name="connsiteX3" fmla="*/ 10878151 w 10888662"/>
              <a:gd name="connsiteY3" fmla="*/ 6461442 h 6585432"/>
              <a:gd name="connsiteX4" fmla="*/ 579722 w 10888662"/>
              <a:gd name="connsiteY4" fmla="*/ 6442075 h 6585432"/>
              <a:gd name="connsiteX5" fmla="*/ 0 w 10888662"/>
              <a:gd name="connsiteY5" fmla="*/ 5862353 h 6585432"/>
              <a:gd name="connsiteX6" fmla="*/ 0 w 10888662"/>
              <a:gd name="connsiteY6" fmla="*/ 1653 h 6585432"/>
              <a:gd name="connsiteX0" fmla="*/ 0 w 10888662"/>
              <a:gd name="connsiteY0" fmla="*/ 1653 h 6577502"/>
              <a:gd name="connsiteX1" fmla="*/ 10308940 w 10888662"/>
              <a:gd name="connsiteY1" fmla="*/ 0 h 6577502"/>
              <a:gd name="connsiteX2" fmla="*/ 10888662 w 10888662"/>
              <a:gd name="connsiteY2" fmla="*/ 579722 h 6577502"/>
              <a:gd name="connsiteX3" fmla="*/ 10878151 w 10888662"/>
              <a:gd name="connsiteY3" fmla="*/ 6450932 h 6577502"/>
              <a:gd name="connsiteX4" fmla="*/ 579722 w 10888662"/>
              <a:gd name="connsiteY4" fmla="*/ 6442075 h 6577502"/>
              <a:gd name="connsiteX5" fmla="*/ 0 w 10888662"/>
              <a:gd name="connsiteY5" fmla="*/ 5862353 h 6577502"/>
              <a:gd name="connsiteX6" fmla="*/ 0 w 10888662"/>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577502"/>
              <a:gd name="connsiteX1" fmla="*/ 10308940 w 11750094"/>
              <a:gd name="connsiteY1" fmla="*/ 0 h 6577502"/>
              <a:gd name="connsiteX2" fmla="*/ 10888662 w 11750094"/>
              <a:gd name="connsiteY2" fmla="*/ 579722 h 6577502"/>
              <a:gd name="connsiteX3" fmla="*/ 10878151 w 11750094"/>
              <a:gd name="connsiteY3" fmla="*/ 6450932 h 6577502"/>
              <a:gd name="connsiteX4" fmla="*/ 579722 w 11750094"/>
              <a:gd name="connsiteY4" fmla="*/ 6442075 h 6577502"/>
              <a:gd name="connsiteX5" fmla="*/ 0 w 11750094"/>
              <a:gd name="connsiteY5" fmla="*/ 5862353 h 6577502"/>
              <a:gd name="connsiteX6" fmla="*/ 0 w 11750094"/>
              <a:gd name="connsiteY6" fmla="*/ 1653 h 657750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1750094"/>
              <a:gd name="connsiteY0" fmla="*/ 1653 h 6450932"/>
              <a:gd name="connsiteX1" fmla="*/ 10308940 w 11750094"/>
              <a:gd name="connsiteY1" fmla="*/ 0 h 6450932"/>
              <a:gd name="connsiteX2" fmla="*/ 10888662 w 11750094"/>
              <a:gd name="connsiteY2" fmla="*/ 579722 h 6450932"/>
              <a:gd name="connsiteX3" fmla="*/ 10878151 w 11750094"/>
              <a:gd name="connsiteY3" fmla="*/ 6450932 h 6450932"/>
              <a:gd name="connsiteX4" fmla="*/ 579722 w 11750094"/>
              <a:gd name="connsiteY4" fmla="*/ 6442075 h 6450932"/>
              <a:gd name="connsiteX5" fmla="*/ 0 w 11750094"/>
              <a:gd name="connsiteY5" fmla="*/ 5862353 h 6450932"/>
              <a:gd name="connsiteX6" fmla="*/ 0 w 11750094"/>
              <a:gd name="connsiteY6" fmla="*/ 1653 h 6450932"/>
              <a:gd name="connsiteX0" fmla="*/ 0 w 10888662"/>
              <a:gd name="connsiteY0" fmla="*/ 1653 h 6450932"/>
              <a:gd name="connsiteX1" fmla="*/ 10308940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0999550"/>
              <a:gd name="connsiteY0" fmla="*/ 1653 h 6450932"/>
              <a:gd name="connsiteX1" fmla="*/ 10844968 w 10999550"/>
              <a:gd name="connsiteY1" fmla="*/ 0 h 6450932"/>
              <a:gd name="connsiteX2" fmla="*/ 10888662 w 10999550"/>
              <a:gd name="connsiteY2" fmla="*/ 579722 h 6450932"/>
              <a:gd name="connsiteX3" fmla="*/ 10878151 w 10999550"/>
              <a:gd name="connsiteY3" fmla="*/ 6450932 h 6450932"/>
              <a:gd name="connsiteX4" fmla="*/ 579722 w 10999550"/>
              <a:gd name="connsiteY4" fmla="*/ 6442075 h 6450932"/>
              <a:gd name="connsiteX5" fmla="*/ 0 w 10999550"/>
              <a:gd name="connsiteY5" fmla="*/ 5862353 h 6450932"/>
              <a:gd name="connsiteX6" fmla="*/ 0 w 10999550"/>
              <a:gd name="connsiteY6" fmla="*/ 1653 h 6450932"/>
              <a:gd name="connsiteX0" fmla="*/ 0 w 11022020"/>
              <a:gd name="connsiteY0" fmla="*/ 1653 h 6450932"/>
              <a:gd name="connsiteX1" fmla="*/ 10876499 w 11022020"/>
              <a:gd name="connsiteY1" fmla="*/ 0 h 6450932"/>
              <a:gd name="connsiteX2" fmla="*/ 10888662 w 11022020"/>
              <a:gd name="connsiteY2" fmla="*/ 579722 h 6450932"/>
              <a:gd name="connsiteX3" fmla="*/ 10878151 w 11022020"/>
              <a:gd name="connsiteY3" fmla="*/ 6450932 h 6450932"/>
              <a:gd name="connsiteX4" fmla="*/ 579722 w 11022020"/>
              <a:gd name="connsiteY4" fmla="*/ 6442075 h 6450932"/>
              <a:gd name="connsiteX5" fmla="*/ 0 w 11022020"/>
              <a:gd name="connsiteY5" fmla="*/ 5862353 h 6450932"/>
              <a:gd name="connsiteX6" fmla="*/ 0 w 11022020"/>
              <a:gd name="connsiteY6" fmla="*/ 1653 h 6450932"/>
              <a:gd name="connsiteX0" fmla="*/ 0 w 10888662"/>
              <a:gd name="connsiteY0" fmla="*/ 1653 h 6450932"/>
              <a:gd name="connsiteX1" fmla="*/ 10876499 w 10888662"/>
              <a:gd name="connsiteY1" fmla="*/ 0 h 6450932"/>
              <a:gd name="connsiteX2" fmla="*/ 10888662 w 10888662"/>
              <a:gd name="connsiteY2" fmla="*/ 579722 h 6450932"/>
              <a:gd name="connsiteX3" fmla="*/ 10878151 w 10888662"/>
              <a:gd name="connsiteY3" fmla="*/ 6450932 h 6450932"/>
              <a:gd name="connsiteX4" fmla="*/ 579722 w 10888662"/>
              <a:gd name="connsiteY4" fmla="*/ 6442075 h 6450932"/>
              <a:gd name="connsiteX5" fmla="*/ 0 w 10888662"/>
              <a:gd name="connsiteY5" fmla="*/ 5862353 h 6450932"/>
              <a:gd name="connsiteX6" fmla="*/ 0 w 10888662"/>
              <a:gd name="connsiteY6" fmla="*/ 1653 h 6450932"/>
              <a:gd name="connsiteX0" fmla="*/ 0 w 12200990"/>
              <a:gd name="connsiteY0" fmla="*/ 1653 h 6450932"/>
              <a:gd name="connsiteX1" fmla="*/ 10876499 w 12200990"/>
              <a:gd name="connsiteY1" fmla="*/ 0 h 6450932"/>
              <a:gd name="connsiteX2" fmla="*/ 10878151 w 12200990"/>
              <a:gd name="connsiteY2" fmla="*/ 6450932 h 6450932"/>
              <a:gd name="connsiteX3" fmla="*/ 579722 w 12200990"/>
              <a:gd name="connsiteY3" fmla="*/ 6442075 h 6450932"/>
              <a:gd name="connsiteX4" fmla="*/ 0 w 12200990"/>
              <a:gd name="connsiteY4" fmla="*/ 5862353 h 6450932"/>
              <a:gd name="connsiteX5" fmla="*/ 0 w 12200990"/>
              <a:gd name="connsiteY5" fmla="*/ 1653 h 6450932"/>
              <a:gd name="connsiteX0" fmla="*/ 0 w 11640630"/>
              <a:gd name="connsiteY0" fmla="*/ 1653 h 6450932"/>
              <a:gd name="connsiteX1" fmla="*/ 10876499 w 11640630"/>
              <a:gd name="connsiteY1" fmla="*/ 0 h 6450932"/>
              <a:gd name="connsiteX2" fmla="*/ 10878151 w 11640630"/>
              <a:gd name="connsiteY2" fmla="*/ 6450932 h 6450932"/>
              <a:gd name="connsiteX3" fmla="*/ 579722 w 11640630"/>
              <a:gd name="connsiteY3" fmla="*/ 6442075 h 6450932"/>
              <a:gd name="connsiteX4" fmla="*/ 0 w 11640630"/>
              <a:gd name="connsiteY4" fmla="*/ 5862353 h 6450932"/>
              <a:gd name="connsiteX5" fmla="*/ 0 w 11640630"/>
              <a:gd name="connsiteY5" fmla="*/ 1653 h 6450932"/>
              <a:gd name="connsiteX0" fmla="*/ 0 w 10878151"/>
              <a:gd name="connsiteY0" fmla="*/ 1653 h 6450932"/>
              <a:gd name="connsiteX1" fmla="*/ 10876499 w 10878151"/>
              <a:gd name="connsiteY1" fmla="*/ 0 h 6450932"/>
              <a:gd name="connsiteX2" fmla="*/ 10878151 w 10878151"/>
              <a:gd name="connsiteY2" fmla="*/ 6450932 h 6450932"/>
              <a:gd name="connsiteX3" fmla="*/ 579722 w 10878151"/>
              <a:gd name="connsiteY3" fmla="*/ 6442075 h 6450932"/>
              <a:gd name="connsiteX4" fmla="*/ 0 w 10878151"/>
              <a:gd name="connsiteY4" fmla="*/ 5862353 h 6450932"/>
              <a:gd name="connsiteX5" fmla="*/ 0 w 10878151"/>
              <a:gd name="connsiteY5" fmla="*/ 1653 h 6450932"/>
              <a:gd name="connsiteX0" fmla="*/ 0 w 11843451"/>
              <a:gd name="connsiteY0" fmla="*/ 1653 h 6450932"/>
              <a:gd name="connsiteX1" fmla="*/ 11843451 w 11843451"/>
              <a:gd name="connsiteY1" fmla="*/ 0 h 6450932"/>
              <a:gd name="connsiteX2" fmla="*/ 10878151 w 11843451"/>
              <a:gd name="connsiteY2" fmla="*/ 6450932 h 6450932"/>
              <a:gd name="connsiteX3" fmla="*/ 579722 w 11843451"/>
              <a:gd name="connsiteY3" fmla="*/ 6442075 h 6450932"/>
              <a:gd name="connsiteX4" fmla="*/ 0 w 11843451"/>
              <a:gd name="connsiteY4" fmla="*/ 5862353 h 6450932"/>
              <a:gd name="connsiteX5" fmla="*/ 0 w 11843451"/>
              <a:gd name="connsiteY5" fmla="*/ 1653 h 6450932"/>
              <a:gd name="connsiteX0" fmla="*/ 0 w 11855613"/>
              <a:gd name="connsiteY0" fmla="*/ 1653 h 6450932"/>
              <a:gd name="connsiteX1" fmla="*/ 11843451 w 11855613"/>
              <a:gd name="connsiteY1" fmla="*/ 0 h 6450932"/>
              <a:gd name="connsiteX2" fmla="*/ 11855613 w 11855613"/>
              <a:gd name="connsiteY2" fmla="*/ 6450932 h 6450932"/>
              <a:gd name="connsiteX3" fmla="*/ 579722 w 11855613"/>
              <a:gd name="connsiteY3" fmla="*/ 6442075 h 6450932"/>
              <a:gd name="connsiteX4" fmla="*/ 0 w 11855613"/>
              <a:gd name="connsiteY4" fmla="*/ 5862353 h 6450932"/>
              <a:gd name="connsiteX5" fmla="*/ 0 w 11855613"/>
              <a:gd name="connsiteY5" fmla="*/ 1653 h 6450932"/>
              <a:gd name="connsiteX0" fmla="*/ 0 w 11864472"/>
              <a:gd name="connsiteY0" fmla="*/ 1653 h 6450932"/>
              <a:gd name="connsiteX1" fmla="*/ 11864472 w 11864472"/>
              <a:gd name="connsiteY1" fmla="*/ 0 h 6450932"/>
              <a:gd name="connsiteX2" fmla="*/ 11855613 w 11864472"/>
              <a:gd name="connsiteY2" fmla="*/ 6450932 h 6450932"/>
              <a:gd name="connsiteX3" fmla="*/ 579722 w 11864472"/>
              <a:gd name="connsiteY3" fmla="*/ 6442075 h 6450932"/>
              <a:gd name="connsiteX4" fmla="*/ 0 w 11864472"/>
              <a:gd name="connsiteY4" fmla="*/ 5862353 h 6450932"/>
              <a:gd name="connsiteX5" fmla="*/ 0 w 11864472"/>
              <a:gd name="connsiteY5" fmla="*/ 1653 h 6450932"/>
              <a:gd name="connsiteX0" fmla="*/ 0 w 11864472"/>
              <a:gd name="connsiteY0" fmla="*/ 1653 h 6442075"/>
              <a:gd name="connsiteX1" fmla="*/ 11864472 w 11864472"/>
              <a:gd name="connsiteY1" fmla="*/ 0 h 6442075"/>
              <a:gd name="connsiteX2" fmla="*/ 11855613 w 11864472"/>
              <a:gd name="connsiteY2" fmla="*/ 6440421 h 6442075"/>
              <a:gd name="connsiteX3" fmla="*/ 579722 w 11864472"/>
              <a:gd name="connsiteY3" fmla="*/ 6442075 h 6442075"/>
              <a:gd name="connsiteX4" fmla="*/ 0 w 11864472"/>
              <a:gd name="connsiteY4" fmla="*/ 5862353 h 6442075"/>
              <a:gd name="connsiteX5" fmla="*/ 0 w 11864472"/>
              <a:gd name="connsiteY5" fmla="*/ 1653 h 6442075"/>
              <a:gd name="connsiteX0" fmla="*/ 0 w 11855613"/>
              <a:gd name="connsiteY0" fmla="*/ 1653 h 6442075"/>
              <a:gd name="connsiteX1" fmla="*/ 8912928 w 11855613"/>
              <a:gd name="connsiteY1" fmla="*/ 0 h 6442075"/>
              <a:gd name="connsiteX2" fmla="*/ 11855613 w 11855613"/>
              <a:gd name="connsiteY2" fmla="*/ 6440421 h 6442075"/>
              <a:gd name="connsiteX3" fmla="*/ 579722 w 11855613"/>
              <a:gd name="connsiteY3" fmla="*/ 6442075 h 6442075"/>
              <a:gd name="connsiteX4" fmla="*/ 0 w 11855613"/>
              <a:gd name="connsiteY4" fmla="*/ 5862353 h 6442075"/>
              <a:gd name="connsiteX5" fmla="*/ 0 w 11855613"/>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74032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36077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71615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38792"/>
              <a:gd name="connsiteY0" fmla="*/ 1653 h 6442075"/>
              <a:gd name="connsiteX1" fmla="*/ 8912928 w 8938792"/>
              <a:gd name="connsiteY1" fmla="*/ 0 h 6442075"/>
              <a:gd name="connsiteX2" fmla="*/ 8938792 w 8938792"/>
              <a:gd name="connsiteY2" fmla="*/ 6440421 h 6442075"/>
              <a:gd name="connsiteX3" fmla="*/ 579722 w 8938792"/>
              <a:gd name="connsiteY3" fmla="*/ 6442075 h 6442075"/>
              <a:gd name="connsiteX4" fmla="*/ 0 w 8938792"/>
              <a:gd name="connsiteY4" fmla="*/ 5862353 h 6442075"/>
              <a:gd name="connsiteX5" fmla="*/ 0 w 8938792"/>
              <a:gd name="connsiteY5" fmla="*/ 1653 h 6442075"/>
              <a:gd name="connsiteX0" fmla="*/ 0 w 8915642"/>
              <a:gd name="connsiteY0" fmla="*/ 1653 h 6442075"/>
              <a:gd name="connsiteX1" fmla="*/ 8912928 w 8915642"/>
              <a:gd name="connsiteY1" fmla="*/ 0 h 6442075"/>
              <a:gd name="connsiteX2" fmla="*/ 8915642 w 8915642"/>
              <a:gd name="connsiteY2" fmla="*/ 6440421 h 6442075"/>
              <a:gd name="connsiteX3" fmla="*/ 579722 w 8915642"/>
              <a:gd name="connsiteY3" fmla="*/ 6442075 h 6442075"/>
              <a:gd name="connsiteX4" fmla="*/ 0 w 8915642"/>
              <a:gd name="connsiteY4" fmla="*/ 5862353 h 6442075"/>
              <a:gd name="connsiteX5" fmla="*/ 0 w 8915642"/>
              <a:gd name="connsiteY5" fmla="*/ 1653 h 6442075"/>
              <a:gd name="connsiteX0" fmla="*/ 0 w 8915642"/>
              <a:gd name="connsiteY0" fmla="*/ 1 h 6633463"/>
              <a:gd name="connsiteX1" fmla="*/ 8912928 w 8915642"/>
              <a:gd name="connsiteY1" fmla="*/ 191388 h 6633463"/>
              <a:gd name="connsiteX2" fmla="*/ 8915642 w 8915642"/>
              <a:gd name="connsiteY2" fmla="*/ 6631809 h 6633463"/>
              <a:gd name="connsiteX3" fmla="*/ 579722 w 8915642"/>
              <a:gd name="connsiteY3" fmla="*/ 6633463 h 6633463"/>
              <a:gd name="connsiteX4" fmla="*/ 0 w 8915642"/>
              <a:gd name="connsiteY4" fmla="*/ 6053741 h 6633463"/>
              <a:gd name="connsiteX5" fmla="*/ 0 w 8915642"/>
              <a:gd name="connsiteY5" fmla="*/ 1 h 6633463"/>
              <a:gd name="connsiteX0" fmla="*/ 0 w 8933278"/>
              <a:gd name="connsiteY0" fmla="*/ 1653 h 6635115"/>
              <a:gd name="connsiteX1" fmla="*/ 8933248 w 8933278"/>
              <a:gd name="connsiteY1" fmla="*/ 0 h 6635115"/>
              <a:gd name="connsiteX2" fmla="*/ 8915642 w 8933278"/>
              <a:gd name="connsiteY2" fmla="*/ 6633461 h 6635115"/>
              <a:gd name="connsiteX3" fmla="*/ 579722 w 8933278"/>
              <a:gd name="connsiteY3" fmla="*/ 6635115 h 6635115"/>
              <a:gd name="connsiteX4" fmla="*/ 0 w 8933278"/>
              <a:gd name="connsiteY4" fmla="*/ 6055393 h 6635115"/>
              <a:gd name="connsiteX5" fmla="*/ 0 w 8933278"/>
              <a:gd name="connsiteY5" fmla="*/ 1653 h 6635115"/>
              <a:gd name="connsiteX0" fmla="*/ 0 w 8933323"/>
              <a:gd name="connsiteY0" fmla="*/ 1653 h 6645336"/>
              <a:gd name="connsiteX1" fmla="*/ 8933248 w 8933323"/>
              <a:gd name="connsiteY1" fmla="*/ 0 h 6645336"/>
              <a:gd name="connsiteX2" fmla="*/ 8927517 w 8933323"/>
              <a:gd name="connsiteY2" fmla="*/ 6645336 h 6645336"/>
              <a:gd name="connsiteX3" fmla="*/ 579722 w 8933323"/>
              <a:gd name="connsiteY3" fmla="*/ 6635115 h 6645336"/>
              <a:gd name="connsiteX4" fmla="*/ 0 w 8933323"/>
              <a:gd name="connsiteY4" fmla="*/ 6055393 h 6645336"/>
              <a:gd name="connsiteX5" fmla="*/ 0 w 8933323"/>
              <a:gd name="connsiteY5" fmla="*/ 1653 h 6645336"/>
              <a:gd name="connsiteX0" fmla="*/ 0 w 8927517"/>
              <a:gd name="connsiteY0" fmla="*/ 1653 h 6645336"/>
              <a:gd name="connsiteX1" fmla="*/ 7971347 w 8927517"/>
              <a:gd name="connsiteY1" fmla="*/ 0 h 6645336"/>
              <a:gd name="connsiteX2" fmla="*/ 8927517 w 8927517"/>
              <a:gd name="connsiteY2" fmla="*/ 6645336 h 6645336"/>
              <a:gd name="connsiteX3" fmla="*/ 579722 w 8927517"/>
              <a:gd name="connsiteY3" fmla="*/ 6635115 h 6645336"/>
              <a:gd name="connsiteX4" fmla="*/ 0 w 8927517"/>
              <a:gd name="connsiteY4" fmla="*/ 6055393 h 6645336"/>
              <a:gd name="connsiteX5" fmla="*/ 0 w 8927517"/>
              <a:gd name="connsiteY5" fmla="*/ 1653 h 6645336"/>
              <a:gd name="connsiteX0" fmla="*/ 0 w 7971422"/>
              <a:gd name="connsiteY0" fmla="*/ 1653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653 h 6645336"/>
              <a:gd name="connsiteX0" fmla="*/ 0 w 7971422"/>
              <a:gd name="connsiteY0" fmla="*/ 1301816 h 6645336"/>
              <a:gd name="connsiteX1" fmla="*/ 7971347 w 7971422"/>
              <a:gd name="connsiteY1" fmla="*/ 0 h 6645336"/>
              <a:gd name="connsiteX2" fmla="*/ 7965616 w 7971422"/>
              <a:gd name="connsiteY2" fmla="*/ 6645336 h 6645336"/>
              <a:gd name="connsiteX3" fmla="*/ 579722 w 7971422"/>
              <a:gd name="connsiteY3" fmla="*/ 6635115 h 6645336"/>
              <a:gd name="connsiteX4" fmla="*/ 0 w 7971422"/>
              <a:gd name="connsiteY4" fmla="*/ 6055393 h 6645336"/>
              <a:gd name="connsiteX5" fmla="*/ 0 w 7971422"/>
              <a:gd name="connsiteY5" fmla="*/ 1301816 h 6645336"/>
              <a:gd name="connsiteX0" fmla="*/ 0 w 7965616"/>
              <a:gd name="connsiteY0" fmla="*/ 1653 h 5345173"/>
              <a:gd name="connsiteX1" fmla="*/ 7957060 w 7965616"/>
              <a:gd name="connsiteY1" fmla="*/ 0 h 5345173"/>
              <a:gd name="connsiteX2" fmla="*/ 7965616 w 7965616"/>
              <a:gd name="connsiteY2" fmla="*/ 5345173 h 5345173"/>
              <a:gd name="connsiteX3" fmla="*/ 579722 w 7965616"/>
              <a:gd name="connsiteY3" fmla="*/ 5334952 h 5345173"/>
              <a:gd name="connsiteX4" fmla="*/ 0 w 7965616"/>
              <a:gd name="connsiteY4" fmla="*/ 4755230 h 5345173"/>
              <a:gd name="connsiteX5" fmla="*/ 0 w 7965616"/>
              <a:gd name="connsiteY5" fmla="*/ 1653 h 5345173"/>
              <a:gd name="connsiteX0" fmla="*/ 0 w 7971422"/>
              <a:gd name="connsiteY0" fmla="*/ 1653 h 5345173"/>
              <a:gd name="connsiteX1" fmla="*/ 7971347 w 7971422"/>
              <a:gd name="connsiteY1" fmla="*/ 0 h 5345173"/>
              <a:gd name="connsiteX2" fmla="*/ 7965616 w 7971422"/>
              <a:gd name="connsiteY2" fmla="*/ 5345173 h 5345173"/>
              <a:gd name="connsiteX3" fmla="*/ 579722 w 7971422"/>
              <a:gd name="connsiteY3" fmla="*/ 5334952 h 5345173"/>
              <a:gd name="connsiteX4" fmla="*/ 0 w 7971422"/>
              <a:gd name="connsiteY4" fmla="*/ 4755230 h 5345173"/>
              <a:gd name="connsiteX5" fmla="*/ 0 w 7971422"/>
              <a:gd name="connsiteY5" fmla="*/ 1653 h 5345173"/>
              <a:gd name="connsiteX0" fmla="*/ 0 w 7988356"/>
              <a:gd name="connsiteY0" fmla="*/ 187920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187920 h 5345173"/>
              <a:gd name="connsiteX0" fmla="*/ 0 w 7988356"/>
              <a:gd name="connsiteY0" fmla="*/ 210145 h 5345173"/>
              <a:gd name="connsiteX1" fmla="*/ 7988281 w 7988356"/>
              <a:gd name="connsiteY1" fmla="*/ 0 h 5345173"/>
              <a:gd name="connsiteX2" fmla="*/ 7982550 w 7988356"/>
              <a:gd name="connsiteY2" fmla="*/ 5345173 h 5345173"/>
              <a:gd name="connsiteX3" fmla="*/ 596656 w 7988356"/>
              <a:gd name="connsiteY3" fmla="*/ 5334952 h 5345173"/>
              <a:gd name="connsiteX4" fmla="*/ 16934 w 7988356"/>
              <a:gd name="connsiteY4" fmla="*/ 4755230 h 5345173"/>
              <a:gd name="connsiteX5" fmla="*/ 0 w 7988356"/>
              <a:gd name="connsiteY5" fmla="*/ 210145 h 5345173"/>
              <a:gd name="connsiteX0" fmla="*/ 0 w 7988356"/>
              <a:gd name="connsiteY0" fmla="*/ 0 h 5135028"/>
              <a:gd name="connsiteX1" fmla="*/ 7988281 w 7988356"/>
              <a:gd name="connsiteY1" fmla="*/ 7569 h 5135028"/>
              <a:gd name="connsiteX2" fmla="*/ 7982550 w 7988356"/>
              <a:gd name="connsiteY2" fmla="*/ 5135028 h 5135028"/>
              <a:gd name="connsiteX3" fmla="*/ 596656 w 7988356"/>
              <a:gd name="connsiteY3" fmla="*/ 5124807 h 5135028"/>
              <a:gd name="connsiteX4" fmla="*/ 16934 w 7988356"/>
              <a:gd name="connsiteY4" fmla="*/ 4545085 h 5135028"/>
              <a:gd name="connsiteX5" fmla="*/ 0 w 7988356"/>
              <a:gd name="connsiteY5" fmla="*/ 0 h 5135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88356" h="5135028">
                <a:moveTo>
                  <a:pt x="0" y="0"/>
                </a:moveTo>
                <a:lnTo>
                  <a:pt x="7988281" y="7569"/>
                </a:lnTo>
                <a:cubicBezTo>
                  <a:pt x="7989186" y="2154376"/>
                  <a:pt x="7981645" y="2988221"/>
                  <a:pt x="7982550" y="5135028"/>
                </a:cubicBezTo>
                <a:lnTo>
                  <a:pt x="596656" y="5124807"/>
                </a:lnTo>
                <a:cubicBezTo>
                  <a:pt x="276484" y="5124807"/>
                  <a:pt x="16934" y="4865257"/>
                  <a:pt x="16934" y="4545085"/>
                </a:cubicBezTo>
                <a:cubicBezTo>
                  <a:pt x="11289" y="3022648"/>
                  <a:pt x="5645" y="1522437"/>
                  <a:pt x="0" y="0"/>
                </a:cubicBezTo>
                <a:close/>
              </a:path>
            </a:pathLst>
          </a:custGeom>
          <a:noFill/>
        </p:spPr>
        <p:txBody>
          <a:bodyPr>
            <a:normAutofit/>
          </a:bodyPr>
          <a:lstStyle>
            <a:lvl1pPr marL="0" indent="0">
              <a:buNone/>
              <a:defRPr sz="1400">
                <a:solidFill>
                  <a:schemeClr val="tx1"/>
                </a:solidFill>
              </a:defRPr>
            </a:lvl1pPr>
          </a:lstStyle>
          <a:p>
            <a:r>
              <a:rPr lang="en-JP"/>
              <a:t>Insert Photo</a:t>
            </a:r>
          </a:p>
        </p:txBody>
      </p:sp>
      <p:sp>
        <p:nvSpPr>
          <p:cNvPr id="7" name="Text Placeholder 6">
            <a:extLst>
              <a:ext uri="{FF2B5EF4-FFF2-40B4-BE49-F238E27FC236}">
                <a16:creationId xmlns:a16="http://schemas.microsoft.com/office/drawing/2014/main" id="{65925D82-457F-D84D-B8DF-D8ADFD7E71DF}"/>
              </a:ext>
            </a:extLst>
          </p:cNvPr>
          <p:cNvSpPr>
            <a:spLocks noGrp="1"/>
          </p:cNvSpPr>
          <p:nvPr>
            <p:ph type="body" sz="quarter" idx="14" hasCustomPrompt="1"/>
          </p:nvPr>
        </p:nvSpPr>
        <p:spPr>
          <a:xfrm>
            <a:off x="311150" y="3178298"/>
            <a:ext cx="3751966" cy="272786"/>
          </a:xfrm>
          <a:prstGeom prst="rect">
            <a:avLst/>
          </a:prstGeom>
        </p:spPr>
        <p:txBody>
          <a:bodyPr tIns="0" rIns="0" bIns="0" numCol="1">
            <a:noAutofit/>
          </a:bodyPr>
          <a:lstStyle>
            <a:lvl1pPr marL="0" indent="0">
              <a:lnSpc>
                <a:spcPct val="100000"/>
              </a:lnSpc>
              <a:spcBef>
                <a:spcPts val="0"/>
              </a:spcBef>
              <a:spcAft>
                <a:spcPts val="600"/>
              </a:spcAft>
              <a:buNone/>
              <a:defRPr sz="18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itle</a:t>
            </a:r>
          </a:p>
        </p:txBody>
      </p:sp>
      <p:sp>
        <p:nvSpPr>
          <p:cNvPr id="12" name="Text Placeholder 6">
            <a:extLst>
              <a:ext uri="{FF2B5EF4-FFF2-40B4-BE49-F238E27FC236}">
                <a16:creationId xmlns:a16="http://schemas.microsoft.com/office/drawing/2014/main" id="{FD2406EE-A554-5348-AE6D-4D8B343E6201}"/>
              </a:ext>
            </a:extLst>
          </p:cNvPr>
          <p:cNvSpPr>
            <a:spLocks noGrp="1"/>
          </p:cNvSpPr>
          <p:nvPr>
            <p:ph type="body" sz="quarter" idx="15" hasCustomPrompt="1"/>
          </p:nvPr>
        </p:nvSpPr>
        <p:spPr>
          <a:xfrm>
            <a:off x="311150" y="3575904"/>
            <a:ext cx="3751966" cy="2840771"/>
          </a:xfrm>
          <a:prstGeom prst="rect">
            <a:avLst/>
          </a:prstGeom>
        </p:spPr>
        <p:txBody>
          <a:bodyPr tIns="0" rIns="0" bIns="0" numCol="1">
            <a:noAutofit/>
          </a:bodyPr>
          <a:lstStyle>
            <a:lvl1pPr marL="171450" indent="-171450">
              <a:lnSpc>
                <a:spcPct val="100000"/>
              </a:lnSpc>
              <a:spcBef>
                <a:spcPts val="0"/>
              </a:spcBef>
              <a:spcAft>
                <a:spcPts val="600"/>
              </a:spcAft>
              <a:buFont typeface="Arial" panose="020B0604020202020204" pitchFamily="34" charset="0"/>
              <a:buChar char="•"/>
              <a:defRPr sz="1400" b="0">
                <a:solidFill>
                  <a:schemeClr val="tx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Secondary text. </a:t>
            </a:r>
          </a:p>
        </p:txBody>
      </p:sp>
      <p:sp>
        <p:nvSpPr>
          <p:cNvPr id="20" name="Footer Placeholder 8">
            <a:extLst>
              <a:ext uri="{FF2B5EF4-FFF2-40B4-BE49-F238E27FC236}">
                <a16:creationId xmlns:a16="http://schemas.microsoft.com/office/drawing/2014/main" id="{E4ACE247-6DA5-F044-A880-12BDFE14907B}"/>
              </a:ext>
            </a:extLst>
          </p:cNvPr>
          <p:cNvSpPr>
            <a:spLocks noGrp="1"/>
          </p:cNvSpPr>
          <p:nvPr>
            <p:ph type="ftr" sz="quarter" idx="3"/>
          </p:nvPr>
        </p:nvSpPr>
        <p:spPr>
          <a:xfrm>
            <a:off x="7766050" y="6523001"/>
            <a:ext cx="4114800" cy="196131"/>
          </a:xfrm>
          <a:prstGeom prst="rect">
            <a:avLst/>
          </a:prstGeom>
        </p:spPr>
        <p:txBody>
          <a:bodyPr vert="horz" lIns="91440" tIns="45720" rIns="0" bIns="45720" rtlCol="0" anchor="ctr"/>
          <a:lstStyle>
            <a:lvl1pPr algn="r">
              <a:defRPr sz="800" b="1" spc="100" baseline="0">
                <a:solidFill>
                  <a:schemeClr val="tx1"/>
                </a:solidFill>
              </a:defRPr>
            </a:lvl1pPr>
          </a:lstStyle>
          <a:p>
            <a:r>
              <a:rPr lang="en-JP"/>
              <a:t> </a:t>
            </a:r>
          </a:p>
        </p:txBody>
      </p:sp>
      <p:pic>
        <p:nvPicPr>
          <p:cNvPr id="14" name="Picture 13" descr="Takeda">
            <a:extLst>
              <a:ext uri="{FF2B5EF4-FFF2-40B4-BE49-F238E27FC236}">
                <a16:creationId xmlns:a16="http://schemas.microsoft.com/office/drawing/2014/main" id="{1397373C-4723-444D-99E3-0FBCAFDAD4F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546331" y="-1615"/>
            <a:ext cx="1696232" cy="940780"/>
          </a:xfrm>
          <a:prstGeom prst="rect">
            <a:avLst/>
          </a:prstGeom>
        </p:spPr>
      </p:pic>
      <p:sp>
        <p:nvSpPr>
          <p:cNvPr id="22" name="タイトル プレースホルダ 1">
            <a:extLst>
              <a:ext uri="{FF2B5EF4-FFF2-40B4-BE49-F238E27FC236}">
                <a16:creationId xmlns:a16="http://schemas.microsoft.com/office/drawing/2014/main" id="{1545CFCD-ABA6-1349-9917-1DDD2762CB59}"/>
              </a:ext>
            </a:extLst>
          </p:cNvPr>
          <p:cNvSpPr>
            <a:spLocks noGrp="1"/>
          </p:cNvSpPr>
          <p:nvPr>
            <p:ph type="title" hasCustomPrompt="1"/>
          </p:nvPr>
        </p:nvSpPr>
        <p:spPr>
          <a:xfrm>
            <a:off x="606078" y="161605"/>
            <a:ext cx="9940253" cy="685801"/>
          </a:xfrm>
          <a:prstGeom prst="rect">
            <a:avLst/>
          </a:prstGeom>
        </p:spPr>
        <p:txBody>
          <a:bodyPr vert="horz" lIns="0" tIns="0" rIns="0" bIns="0" rtlCol="0" anchor="ctr">
            <a:normAutofit/>
          </a:bodyPr>
          <a:lstStyle/>
          <a:p>
            <a:r>
              <a:rPr kumimoji="1" lang="en-US" altLang="ja-JP"/>
              <a:t>Click to add title</a:t>
            </a:r>
            <a:endParaRPr kumimoji="1" lang="ja-JP" altLang="en-US"/>
          </a:p>
        </p:txBody>
      </p:sp>
      <p:sp>
        <p:nvSpPr>
          <p:cNvPr id="21" name="Rectangle 20">
            <a:extLst>
              <a:ext uri="{FF2B5EF4-FFF2-40B4-BE49-F238E27FC236}">
                <a16:creationId xmlns:a16="http://schemas.microsoft.com/office/drawing/2014/main" id="{97730F84-B57E-C441-B81C-A0677388FA64}"/>
              </a:ext>
            </a:extLst>
          </p:cNvPr>
          <p:cNvSpPr/>
          <p:nvPr userDrawn="1"/>
        </p:nvSpPr>
        <p:spPr>
          <a:xfrm>
            <a:off x="308038" y="161606"/>
            <a:ext cx="54000" cy="685800"/>
          </a:xfrm>
          <a:prstGeom prst="rect">
            <a:avLst/>
          </a:prstGeom>
          <a:solidFill>
            <a:schemeClr val="accent1"/>
          </a:solidFill>
          <a:ln w="28575">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en-JP">
              <a:solidFill>
                <a:schemeClr val="accent1"/>
              </a:solidFill>
            </a:endParaRPr>
          </a:p>
        </p:txBody>
      </p:sp>
      <p:sp>
        <p:nvSpPr>
          <p:cNvPr id="25" name="スライド番号プレースホルダ 5">
            <a:extLst>
              <a:ext uri="{FF2B5EF4-FFF2-40B4-BE49-F238E27FC236}">
                <a16:creationId xmlns:a16="http://schemas.microsoft.com/office/drawing/2014/main" id="{78815F79-70B9-A343-88C1-1B41F15106A1}"/>
              </a:ext>
            </a:extLst>
          </p:cNvPr>
          <p:cNvSpPr>
            <a:spLocks noGrp="1"/>
          </p:cNvSpPr>
          <p:nvPr>
            <p:ph type="sldNum" sz="quarter" idx="4"/>
          </p:nvPr>
        </p:nvSpPr>
        <p:spPr>
          <a:xfrm>
            <a:off x="311150" y="6523001"/>
            <a:ext cx="294928" cy="196131"/>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
        <p:nvSpPr>
          <p:cNvPr id="26" name="Text Placeholder 6">
            <a:extLst>
              <a:ext uri="{FF2B5EF4-FFF2-40B4-BE49-F238E27FC236}">
                <a16:creationId xmlns:a16="http://schemas.microsoft.com/office/drawing/2014/main" id="{6ACFB15D-3880-FB46-8B5A-E057FE4C9B56}"/>
              </a:ext>
            </a:extLst>
          </p:cNvPr>
          <p:cNvSpPr>
            <a:spLocks noGrp="1"/>
          </p:cNvSpPr>
          <p:nvPr>
            <p:ph type="body" sz="quarter" idx="16" hasCustomPrompt="1"/>
          </p:nvPr>
        </p:nvSpPr>
        <p:spPr>
          <a:xfrm>
            <a:off x="606078" y="6523001"/>
            <a:ext cx="6968348" cy="205613"/>
          </a:xfrm>
          <a:prstGeom prst="rect">
            <a:avLst/>
          </a:prstGeom>
        </p:spPr>
        <p:txBody>
          <a:bodyPr wrap="none" tIns="0" rIns="0" bIns="72000" numCol="1" anchor="ctr">
            <a:noAutofit/>
          </a:bodyPr>
          <a:lstStyle>
            <a:lvl1pPr marL="0" indent="0">
              <a:lnSpc>
                <a:spcPts val="1600"/>
              </a:lnSpc>
              <a:spcBef>
                <a:spcPts val="0"/>
              </a:spcBef>
              <a:spcAft>
                <a:spcPts val="600"/>
              </a:spcAft>
              <a:buFont typeface="Arial" panose="020B0604020202020204" pitchFamily="34" charset="0"/>
              <a:buNone/>
              <a:defRPr sz="800" b="0">
                <a:solidFill>
                  <a:schemeClr val="accent3"/>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Private and confidential. For internal use only.</a:t>
            </a:r>
          </a:p>
        </p:txBody>
      </p:sp>
      <p:sp>
        <p:nvSpPr>
          <p:cNvPr id="17" name="Text Placeholder 2">
            <a:extLst>
              <a:ext uri="{FF2B5EF4-FFF2-40B4-BE49-F238E27FC236}">
                <a16:creationId xmlns:a16="http://schemas.microsoft.com/office/drawing/2014/main" id="{EF3CD883-F623-E54C-A27A-38B7EB957052}"/>
              </a:ext>
            </a:extLst>
          </p:cNvPr>
          <p:cNvSpPr>
            <a:spLocks noGrp="1"/>
          </p:cNvSpPr>
          <p:nvPr>
            <p:ph type="body" sz="quarter" idx="20" hasCustomPrompt="1"/>
          </p:nvPr>
        </p:nvSpPr>
        <p:spPr>
          <a:xfrm>
            <a:off x="311151" y="1491373"/>
            <a:ext cx="3751965" cy="1464957"/>
          </a:xfrm>
        </p:spPr>
        <p:txBody>
          <a:bodyPr tIns="0" rIns="0" bIns="0" numCol="1" spcCol="126000">
            <a:noAutofit/>
          </a:bodyPr>
          <a:lstStyle>
            <a:lvl1pPr marL="0" indent="0">
              <a:lnSpc>
                <a:spcPct val="100000"/>
              </a:lnSpc>
              <a:spcBef>
                <a:spcPts val="0"/>
              </a:spcBef>
              <a:buNone/>
              <a:defRPr sz="1600" b="1"/>
            </a:lvl1pPr>
            <a:lvl2pPr marL="457068" indent="0">
              <a:buNone/>
              <a:defRPr sz="1800" b="1"/>
            </a:lvl2pPr>
            <a:lvl3pPr marL="914149" indent="0">
              <a:buNone/>
              <a:defRPr sz="1800" b="1"/>
            </a:lvl3pPr>
            <a:lvl4pPr marL="1371219" indent="0">
              <a:buNone/>
              <a:defRPr sz="1800" b="1"/>
            </a:lvl4pPr>
            <a:lvl5pPr marL="1828290" indent="0">
              <a:buNone/>
              <a:defRPr sz="1800" b="1"/>
            </a:lvl5pPr>
          </a:lstStyle>
          <a:p>
            <a:pPr lvl="0"/>
            <a:r>
              <a:rPr lang="en-US"/>
              <a:t>This is your Primary Text.</a:t>
            </a:r>
            <a:endParaRPr lang="en-JP"/>
          </a:p>
        </p:txBody>
      </p:sp>
      <p:sp>
        <p:nvSpPr>
          <p:cNvPr id="18" name="Text Placeholder 6">
            <a:extLst>
              <a:ext uri="{FF2B5EF4-FFF2-40B4-BE49-F238E27FC236}">
                <a16:creationId xmlns:a16="http://schemas.microsoft.com/office/drawing/2014/main" id="{B2D601E3-CC68-7845-AAF4-3AD141198B4E}"/>
              </a:ext>
            </a:extLst>
          </p:cNvPr>
          <p:cNvSpPr>
            <a:spLocks noGrp="1"/>
          </p:cNvSpPr>
          <p:nvPr>
            <p:ph type="body" sz="quarter" idx="21" hasCustomPrompt="1"/>
          </p:nvPr>
        </p:nvSpPr>
        <p:spPr>
          <a:xfrm>
            <a:off x="311150" y="1093767"/>
            <a:ext cx="3751965" cy="272786"/>
          </a:xfrm>
        </p:spPr>
        <p:txBody>
          <a:bodyPr tIns="0" rIns="0" bIns="0" numCol="1">
            <a:noAutofit/>
          </a:bodyPr>
          <a:lstStyle>
            <a:lvl1pPr marL="0" indent="0">
              <a:lnSpc>
                <a:spcPct val="100000"/>
              </a:lnSpc>
              <a:spcBef>
                <a:spcPts val="0"/>
              </a:spcBef>
              <a:spcAft>
                <a:spcPts val="600"/>
              </a:spcAft>
              <a:buNone/>
              <a:defRPr sz="2000" b="1">
                <a:solidFill>
                  <a:schemeClr val="accent1"/>
                </a:solidFill>
              </a:defRPr>
            </a:lvl1pPr>
            <a:lvl2pPr marL="457068" indent="0">
              <a:lnSpc>
                <a:spcPts val="1800"/>
              </a:lnSpc>
              <a:spcBef>
                <a:spcPts val="0"/>
              </a:spcBef>
              <a:buNone/>
              <a:defRPr sz="1400"/>
            </a:lvl2pPr>
            <a:lvl3pPr marL="914149" indent="0">
              <a:lnSpc>
                <a:spcPts val="1800"/>
              </a:lnSpc>
              <a:spcBef>
                <a:spcPts val="0"/>
              </a:spcBef>
              <a:buNone/>
              <a:defRPr sz="1400"/>
            </a:lvl3pPr>
            <a:lvl4pPr marL="1371219" indent="0">
              <a:lnSpc>
                <a:spcPts val="1800"/>
              </a:lnSpc>
              <a:spcBef>
                <a:spcPts val="0"/>
              </a:spcBef>
              <a:buNone/>
              <a:defRPr sz="1400"/>
            </a:lvl4pPr>
            <a:lvl5pPr marL="1828290" indent="0">
              <a:lnSpc>
                <a:spcPts val="1800"/>
              </a:lnSpc>
              <a:spcBef>
                <a:spcPts val="0"/>
              </a:spcBef>
              <a:buNone/>
              <a:defRPr sz="1400"/>
            </a:lvl5pPr>
          </a:lstStyle>
          <a:p>
            <a:pPr lvl="0"/>
            <a:r>
              <a:rPr lang="en-US"/>
              <a:t>This is your Primary Title</a:t>
            </a:r>
          </a:p>
        </p:txBody>
      </p:sp>
    </p:spTree>
    <p:extLst>
      <p:ext uri="{BB962C8B-B14F-4D97-AF65-F5344CB8AC3E}">
        <p14:creationId xmlns:p14="http://schemas.microsoft.com/office/powerpoint/2010/main" val="848965478"/>
      </p:ext>
    </p:extLst>
  </p:cSld>
  <p:clrMapOvr>
    <a:masterClrMapping/>
  </p:clrMapOvr>
  <p:transition spd="slow">
    <p:push dir="u"/>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283D300-2124-42DF-B73B-3D3D4C546EC6}"/>
              </a:ext>
            </a:extLst>
          </p:cNvPr>
          <p:cNvGraphicFramePr>
            <a:graphicFrameLocks noChangeAspect="1"/>
          </p:cNvGraphicFramePr>
          <p:nvPr userDrawn="1">
            <p:custDataLst>
              <p:tags r:id="rId20"/>
            </p:custDataLst>
            <p:extLst>
              <p:ext uri="{D42A27DB-BD31-4B8C-83A1-F6EECF244321}">
                <p14:modId xmlns:p14="http://schemas.microsoft.com/office/powerpoint/2010/main" val="35852690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22" imgW="395" imgH="394" progId="TCLayout.ActiveDocument.1">
                  <p:embed/>
                </p:oleObj>
              </mc:Choice>
              <mc:Fallback>
                <p:oleObj name="think-cell 幻灯片" r:id="rId22" imgW="395" imgH="394" progId="TCLayout.ActiveDocument.1">
                  <p:embed/>
                  <p:pic>
                    <p:nvPicPr>
                      <p:cNvPr id="4" name="Object 3" hidden="1">
                        <a:extLst>
                          <a:ext uri="{FF2B5EF4-FFF2-40B4-BE49-F238E27FC236}">
                            <a16:creationId xmlns:a16="http://schemas.microsoft.com/office/drawing/2014/main" id="{D283D300-2124-42DF-B73B-3D3D4C546EC6}"/>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B895B28-7064-4AD0-A15D-88F99BCA9BAD}"/>
              </a:ext>
            </a:extLst>
          </p:cNvPr>
          <p:cNvSpPr/>
          <p:nvPr userDrawn="1">
            <p:custDataLst>
              <p:tags r:id="rId2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en-US" altLang="ja-JP" sz="2800" b="0" i="0" baseline="0">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 name="テキスト プレースホルダ 2"/>
          <p:cNvSpPr>
            <a:spLocks noGrp="1"/>
          </p:cNvSpPr>
          <p:nvPr>
            <p:ph type="body" idx="1"/>
          </p:nvPr>
        </p:nvSpPr>
        <p:spPr>
          <a:xfrm>
            <a:off x="311150" y="1233487"/>
            <a:ext cx="11569700" cy="5183187"/>
          </a:xfrm>
          <a:prstGeom prst="rect">
            <a:avLst/>
          </a:prstGeom>
        </p:spPr>
        <p:txBody>
          <a:bodyPr vert="horz" lIns="0" tIns="45710" rIns="91420" bIns="45710" rtlCol="0">
            <a:normAutofit/>
          </a:bodyPr>
          <a:lstStyle/>
          <a:p>
            <a:pPr lvl="0"/>
            <a:r>
              <a:rPr kumimoji="1" lang="en-US" altLang="ja-JP"/>
              <a:t>Master text</a:t>
            </a:r>
            <a:endParaRPr kumimoji="1" lang="ja-JP" altLang="en-US"/>
          </a:p>
        </p:txBody>
      </p:sp>
      <p:sp>
        <p:nvSpPr>
          <p:cNvPr id="11" name="Footer Placeholder 8">
            <a:extLst>
              <a:ext uri="{FF2B5EF4-FFF2-40B4-BE49-F238E27FC236}">
                <a16:creationId xmlns:a16="http://schemas.microsoft.com/office/drawing/2014/main" id="{44E43001-C216-284A-9EBD-E54B5DD295CE}"/>
              </a:ext>
            </a:extLst>
          </p:cNvPr>
          <p:cNvSpPr>
            <a:spLocks noGrp="1"/>
          </p:cNvSpPr>
          <p:nvPr>
            <p:ph type="ftr" sz="quarter" idx="3"/>
          </p:nvPr>
        </p:nvSpPr>
        <p:spPr>
          <a:xfrm>
            <a:off x="7766050" y="6489701"/>
            <a:ext cx="4114800" cy="229432"/>
          </a:xfrm>
          <a:prstGeom prst="rect">
            <a:avLst/>
          </a:prstGeom>
        </p:spPr>
        <p:txBody>
          <a:bodyPr vert="horz" lIns="91440" tIns="45720" rIns="91440" bIns="45720" rtlCol="0" anchor="ctr"/>
          <a:lstStyle>
            <a:lvl1pPr algn="r">
              <a:defRPr sz="800" b="1" spc="100" baseline="0">
                <a:solidFill>
                  <a:schemeClr val="tx1"/>
                </a:solidFill>
              </a:defRPr>
            </a:lvl1pPr>
          </a:lstStyle>
          <a:p>
            <a:r>
              <a:rPr lang="en-JP"/>
              <a:t> </a:t>
            </a:r>
          </a:p>
        </p:txBody>
      </p:sp>
      <p:sp>
        <p:nvSpPr>
          <p:cNvPr id="9" name="タイトル プレースホルダ 1">
            <a:extLst>
              <a:ext uri="{FF2B5EF4-FFF2-40B4-BE49-F238E27FC236}">
                <a16:creationId xmlns:a16="http://schemas.microsoft.com/office/drawing/2014/main" id="{D7981A12-E00B-604C-B863-7CBF31AA6408}"/>
              </a:ext>
            </a:extLst>
          </p:cNvPr>
          <p:cNvSpPr>
            <a:spLocks noGrp="1"/>
          </p:cNvSpPr>
          <p:nvPr>
            <p:ph type="title"/>
          </p:nvPr>
        </p:nvSpPr>
        <p:spPr>
          <a:xfrm>
            <a:off x="606078" y="161605"/>
            <a:ext cx="9895084" cy="685801"/>
          </a:xfrm>
          <a:prstGeom prst="rect">
            <a:avLst/>
          </a:prstGeom>
        </p:spPr>
        <p:txBody>
          <a:bodyPr vert="horz" lIns="0" tIns="0" rIns="0" bIns="0" rtlCol="0" anchor="ctr">
            <a:normAutofit/>
          </a:bodyPr>
          <a:lstStyle/>
          <a:p>
            <a:r>
              <a:rPr kumimoji="1" lang="en-US" altLang="ja-JP"/>
              <a:t>Master title</a:t>
            </a:r>
            <a:endParaRPr kumimoji="1" lang="ja-JP" altLang="en-US"/>
          </a:p>
        </p:txBody>
      </p:sp>
      <p:sp>
        <p:nvSpPr>
          <p:cNvPr id="13" name="スライド番号プレースホルダ 5">
            <a:extLst>
              <a:ext uri="{FF2B5EF4-FFF2-40B4-BE49-F238E27FC236}">
                <a16:creationId xmlns:a16="http://schemas.microsoft.com/office/drawing/2014/main" id="{C7AA5A17-3F2F-B94B-9342-A137057B898D}"/>
              </a:ext>
            </a:extLst>
          </p:cNvPr>
          <p:cNvSpPr>
            <a:spLocks noGrp="1"/>
          </p:cNvSpPr>
          <p:nvPr>
            <p:ph type="sldNum" sz="quarter" idx="4"/>
          </p:nvPr>
        </p:nvSpPr>
        <p:spPr>
          <a:xfrm>
            <a:off x="311150" y="6489701"/>
            <a:ext cx="589856" cy="229432"/>
          </a:xfrm>
          <a:prstGeom prst="rect">
            <a:avLst/>
          </a:prstGeom>
        </p:spPr>
        <p:txBody>
          <a:bodyPr vert="horz" lIns="0" tIns="45710" rIns="0" bIns="45710" rtlCol="0" anchor="ctr"/>
          <a:lstStyle>
            <a:lvl1pPr algn="l">
              <a:defRPr sz="800" b="1" i="0">
                <a:solidFill>
                  <a:schemeClr val="tx1"/>
                </a:solidFill>
                <a:latin typeface="Calibri" panose="020F0502020204030204" pitchFamily="34" charset="0"/>
                <a:ea typeface="メイリオ" pitchFamily="50" charset="-128"/>
                <a:cs typeface="Calibri" panose="020F0502020204030204" pitchFamily="34" charset="0"/>
              </a:defRPr>
            </a:lvl1pPr>
          </a:lstStyle>
          <a:p>
            <a:pPr defTabSz="1218810"/>
            <a:fld id="{E9B57936-92EF-4126-AE48-1D9D36D15E98}" type="slidenum">
              <a:rPr lang="ja-JP" altLang="en-US" smtClean="0"/>
              <a:pPr defTabSz="1218810"/>
              <a:t>‹#›</a:t>
            </a:fld>
            <a:endParaRPr lang="ja-JP" altLang="en-US"/>
          </a:p>
        </p:txBody>
      </p:sp>
    </p:spTree>
    <p:extLst>
      <p:ext uri="{BB962C8B-B14F-4D97-AF65-F5344CB8AC3E}">
        <p14:creationId xmlns:p14="http://schemas.microsoft.com/office/powerpoint/2010/main" val="2383548471"/>
      </p:ext>
    </p:extLst>
  </p:cSld>
  <p:clrMap bg1="lt1" tx1="dk1" bg2="lt2" tx2="dk2" accent1="accent1" accent2="accent2" accent3="accent3" accent4="accent4" accent5="accent5" accent6="accent6" hlink="hlink" folHlink="folHlink"/>
  <p:sldLayoutIdLst>
    <p:sldLayoutId id="2147483911" r:id="rId1"/>
    <p:sldLayoutId id="2147483910" r:id="rId2"/>
    <p:sldLayoutId id="2147483989" r:id="rId3"/>
    <p:sldLayoutId id="2147483986" r:id="rId4"/>
    <p:sldLayoutId id="2147483987" r:id="rId5"/>
    <p:sldLayoutId id="2147483961" r:id="rId6"/>
    <p:sldLayoutId id="2147483988" r:id="rId7"/>
    <p:sldLayoutId id="2147483920" r:id="rId8"/>
    <p:sldLayoutId id="2147483922" r:id="rId9"/>
    <p:sldLayoutId id="2147483968" r:id="rId10"/>
    <p:sldLayoutId id="2147483930" r:id="rId11"/>
    <p:sldLayoutId id="2147483924" r:id="rId12"/>
    <p:sldLayoutId id="2147483931" r:id="rId13"/>
    <p:sldLayoutId id="2147483925" r:id="rId14"/>
    <p:sldLayoutId id="2147483926" r:id="rId15"/>
    <p:sldLayoutId id="2147483927" r:id="rId16"/>
    <p:sldLayoutId id="2147483928" r:id="rId17"/>
    <p:sldLayoutId id="2147483929" r:id="rId18"/>
  </p:sldLayoutIdLst>
  <p:transition spd="slow">
    <p:push dir="u"/>
  </p:transition>
  <p:hf hdr="0" dt="0"/>
  <p:txStyles>
    <p:titleStyle>
      <a:lvl1pPr algn="l" defTabSz="914150" rtl="0" eaLnBrk="1" latinLnBrk="0" hangingPunct="1">
        <a:lnSpc>
          <a:spcPts val="2800"/>
        </a:lnSpc>
        <a:spcBef>
          <a:spcPct val="0"/>
        </a:spcBef>
        <a:buNone/>
        <a:defRPr kumimoji="1" sz="2800" b="1" i="0" kern="1200" baseline="0">
          <a:solidFill>
            <a:schemeClr val="tx1"/>
          </a:solidFill>
          <a:latin typeface="Calibri" panose="020F0502020204030204" pitchFamily="34" charset="0"/>
          <a:ea typeface="メイリオ" pitchFamily="50" charset="-128"/>
          <a:cs typeface="Calibri" pitchFamily="34" charset="0"/>
        </a:defRPr>
      </a:lvl1pPr>
    </p:titleStyle>
    <p:body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150" rtl="0" eaLnBrk="1" latinLnBrk="0" hangingPunct="1">
        <a:defRPr kumimoji="1" sz="1867" kern="1200">
          <a:solidFill>
            <a:schemeClr val="tx1"/>
          </a:solidFill>
          <a:latin typeface="+mn-lt"/>
          <a:ea typeface="+mn-ea"/>
          <a:cs typeface="+mn-cs"/>
        </a:defRPr>
      </a:lvl1pPr>
      <a:lvl2pPr marL="457071" algn="l" defTabSz="914150" rtl="0" eaLnBrk="1" latinLnBrk="0" hangingPunct="1">
        <a:defRPr kumimoji="1" sz="1867" kern="1200">
          <a:solidFill>
            <a:schemeClr val="tx1"/>
          </a:solidFill>
          <a:latin typeface="+mn-lt"/>
          <a:ea typeface="+mn-ea"/>
          <a:cs typeface="+mn-cs"/>
        </a:defRPr>
      </a:lvl2pPr>
      <a:lvl3pPr marL="914150" algn="l" defTabSz="914150" rtl="0" eaLnBrk="1" latinLnBrk="0" hangingPunct="1">
        <a:defRPr kumimoji="1" sz="1867" kern="1200">
          <a:solidFill>
            <a:schemeClr val="tx1"/>
          </a:solidFill>
          <a:latin typeface="+mn-lt"/>
          <a:ea typeface="+mn-ea"/>
          <a:cs typeface="+mn-cs"/>
        </a:defRPr>
      </a:lvl3pPr>
      <a:lvl4pPr marL="1371226" algn="l" defTabSz="914150" rtl="0" eaLnBrk="1" latinLnBrk="0" hangingPunct="1">
        <a:defRPr kumimoji="1" sz="1867" kern="1200">
          <a:solidFill>
            <a:schemeClr val="tx1"/>
          </a:solidFill>
          <a:latin typeface="+mn-lt"/>
          <a:ea typeface="+mn-ea"/>
          <a:cs typeface="+mn-cs"/>
        </a:defRPr>
      </a:lvl4pPr>
      <a:lvl5pPr marL="1828301" algn="l" defTabSz="914150" rtl="0" eaLnBrk="1" latinLnBrk="0" hangingPunct="1">
        <a:defRPr kumimoji="1" sz="1867" kern="1200">
          <a:solidFill>
            <a:schemeClr val="tx1"/>
          </a:solidFill>
          <a:latin typeface="+mn-lt"/>
          <a:ea typeface="+mn-ea"/>
          <a:cs typeface="+mn-cs"/>
        </a:defRPr>
      </a:lvl5pPr>
      <a:lvl6pPr marL="2285382" algn="l" defTabSz="914150" rtl="0" eaLnBrk="1" latinLnBrk="0" hangingPunct="1">
        <a:defRPr kumimoji="1" sz="1867" kern="1200">
          <a:solidFill>
            <a:schemeClr val="tx1"/>
          </a:solidFill>
          <a:latin typeface="+mn-lt"/>
          <a:ea typeface="+mn-ea"/>
          <a:cs typeface="+mn-cs"/>
        </a:defRPr>
      </a:lvl6pPr>
      <a:lvl7pPr marL="2742450" algn="l" defTabSz="914150" rtl="0" eaLnBrk="1" latinLnBrk="0" hangingPunct="1">
        <a:defRPr kumimoji="1" sz="1867" kern="1200">
          <a:solidFill>
            <a:schemeClr val="tx1"/>
          </a:solidFill>
          <a:latin typeface="+mn-lt"/>
          <a:ea typeface="+mn-ea"/>
          <a:cs typeface="+mn-cs"/>
        </a:defRPr>
      </a:lvl7pPr>
      <a:lvl8pPr marL="3199520" algn="l" defTabSz="914150" rtl="0" eaLnBrk="1" latinLnBrk="0" hangingPunct="1">
        <a:defRPr kumimoji="1" sz="1867" kern="1200">
          <a:solidFill>
            <a:schemeClr val="tx1"/>
          </a:solidFill>
          <a:latin typeface="+mn-lt"/>
          <a:ea typeface="+mn-ea"/>
          <a:cs typeface="+mn-cs"/>
        </a:defRPr>
      </a:lvl8pPr>
      <a:lvl9pPr marL="3656591" algn="l" defTabSz="914150" rtl="0" eaLnBrk="1" latinLnBrk="0" hangingPunct="1">
        <a:defRPr kumimoji="1" sz="186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77">
          <p15:clr>
            <a:srgbClr val="F26B43"/>
          </p15:clr>
        </p15:guide>
        <p15:guide id="2" pos="189" userDrawn="1">
          <p15:clr>
            <a:srgbClr val="F26B43"/>
          </p15:clr>
        </p15:guide>
        <p15:guide id="3" pos="7491" userDrawn="1">
          <p15:clr>
            <a:srgbClr val="F26B43"/>
          </p15:clr>
        </p15:guide>
        <p15:guide id="4" orient="horz" pos="4042">
          <p15:clr>
            <a:srgbClr val="F26B43"/>
          </p15:clr>
        </p15:guide>
        <p15:guide id="5" pos="370" userDrawn="1">
          <p15:clr>
            <a:srgbClr val="F26B43"/>
          </p15:clr>
        </p15:guide>
        <p15:guide id="6" orient="horz" pos="4088"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6.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10.xml"/><Relationship Id="rId7" Type="http://schemas.openxmlformats.org/officeDocument/2006/relationships/image" Target="../media/image7.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3.xml"/><Relationship Id="rId9" Type="http://schemas.openxmlformats.org/officeDocument/2006/relationships/image" Target="../media/image9.png"/></Relationships>
</file>

<file path=ppt/slides/_rels/slide4.xml.rels><?xml version="1.0" encoding="UTF-8" standalone="yes"?>
<Relationships xmlns="http://schemas.openxmlformats.org/package/2006/relationships"><Relationship Id="rId8" Type="http://schemas.openxmlformats.org/officeDocument/2006/relationships/chart" Target="../charts/chart2.xml"/><Relationship Id="rId13"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chart" Target="../charts/chart1.xml"/><Relationship Id="rId12" Type="http://schemas.openxmlformats.org/officeDocument/2006/relationships/image" Target="../media/image13.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6.emf"/><Relationship Id="rId11" Type="http://schemas.openxmlformats.org/officeDocument/2006/relationships/image" Target="../media/image12.png"/><Relationship Id="rId5" Type="http://schemas.openxmlformats.org/officeDocument/2006/relationships/oleObject" Target="../embeddings/oleObject4.bin"/><Relationship Id="rId10" Type="http://schemas.openxmlformats.org/officeDocument/2006/relationships/image" Target="../media/image11.png"/><Relationship Id="rId4" Type="http://schemas.openxmlformats.org/officeDocument/2006/relationships/notesSlide" Target="../notesSlides/notesSlide4.xml"/><Relationship Id="rId9" Type="http://schemas.openxmlformats.org/officeDocument/2006/relationships/image" Target="../media/image10.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chart" Target="../charts/chart4.xml"/><Relationship Id="rId3" Type="http://schemas.openxmlformats.org/officeDocument/2006/relationships/slideLayout" Target="../slideLayouts/slideLayout10.xml"/><Relationship Id="rId7" Type="http://schemas.openxmlformats.org/officeDocument/2006/relationships/chart" Target="../charts/chart3.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6.emf"/><Relationship Id="rId5" Type="http://schemas.openxmlformats.org/officeDocument/2006/relationships/oleObject" Target="../embeddings/oleObject6.bin"/><Relationship Id="rId10" Type="http://schemas.openxmlformats.org/officeDocument/2006/relationships/chart" Target="../charts/chart6.xml"/><Relationship Id="rId4" Type="http://schemas.openxmlformats.org/officeDocument/2006/relationships/notesSlide" Target="../notesSlides/notesSlide6.xml"/><Relationship Id="rId9" Type="http://schemas.openxmlformats.org/officeDocument/2006/relationships/chart" Target="../charts/chart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10.xml"/><Relationship Id="rId7" Type="http://schemas.openxmlformats.org/officeDocument/2006/relationships/image" Target="../media/image15.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notesSlide" Target="../notesSlides/notesSlide8.xml"/><Relationship Id="rId9"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19FF0BCA-4E4F-A34B-BDAB-116134A2BF16}"/>
              </a:ext>
            </a:extLst>
          </p:cNvPr>
          <p:cNvSpPr>
            <a:spLocks noGrp="1"/>
          </p:cNvSpPr>
          <p:nvPr>
            <p:ph type="body" sz="quarter" idx="30"/>
          </p:nvPr>
        </p:nvSpPr>
        <p:spPr>
          <a:xfrm>
            <a:off x="1194730" y="4503681"/>
            <a:ext cx="6862150" cy="263075"/>
          </a:xfrm>
        </p:spPr>
        <p:txBody>
          <a:bodyPr/>
          <a:lstStyle/>
          <a:p>
            <a:r>
              <a:rPr lang="zh-CN" altLang="en-US" sz="1800" b="1">
                <a:solidFill>
                  <a:srgbClr val="1A1918"/>
                </a:solidFill>
                <a:latin typeface="微软雅黑" panose="020B0503020204020204" pitchFamily="34" charset="-122"/>
                <a:ea typeface="微软雅黑" panose="020B0503020204020204" pitchFamily="34" charset="-122"/>
              </a:rPr>
              <a:t>武田（中国）国际贸易有限公司</a:t>
            </a:r>
            <a:endParaRPr lang="en-JP" sz="1800" b="1">
              <a:solidFill>
                <a:srgbClr val="1A1918"/>
              </a:solidFill>
              <a:latin typeface="微软雅黑" panose="020B0503020204020204" pitchFamily="34" charset="-122"/>
              <a:ea typeface="微软雅黑" panose="020B0503020204020204" pitchFamily="34" charset="-122"/>
            </a:endParaRPr>
          </a:p>
        </p:txBody>
      </p:sp>
      <p:sp>
        <p:nvSpPr>
          <p:cNvPr id="7" name="Title 1">
            <a:extLst>
              <a:ext uri="{FF2B5EF4-FFF2-40B4-BE49-F238E27FC236}">
                <a16:creationId xmlns:a16="http://schemas.microsoft.com/office/drawing/2014/main" id="{5EDCC9AE-A996-458D-B908-216DFFE5AA93}"/>
              </a:ext>
            </a:extLst>
          </p:cNvPr>
          <p:cNvSpPr>
            <a:spLocks noGrp="1"/>
          </p:cNvSpPr>
          <p:nvPr>
            <p:ph type="ctrTitle"/>
          </p:nvPr>
        </p:nvSpPr>
        <p:spPr>
          <a:xfrm>
            <a:off x="1194729" y="2136775"/>
            <a:ext cx="7818641" cy="1125969"/>
          </a:xfrm>
        </p:spPr>
        <p:txBody>
          <a:bodyPr>
            <a:noAutofit/>
          </a:bodyPr>
          <a:lstStyle/>
          <a:p>
            <a:pPr>
              <a:lnSpc>
                <a:spcPct val="150000"/>
              </a:lnSpc>
            </a:pPr>
            <a:r>
              <a:rPr lang="zh-CN" altLang="en-US" dirty="0">
                <a:solidFill>
                  <a:srgbClr val="1A1918"/>
                </a:solidFill>
                <a:latin typeface="微软雅黑" panose="020B0503020204020204" pitchFamily="34" charset="-122"/>
                <a:ea typeface="微软雅黑" panose="020B0503020204020204" pitchFamily="34" charset="-122"/>
              </a:rPr>
              <a:t>拉那利尤单抗注射液</a:t>
            </a:r>
            <a:br>
              <a:rPr lang="en-US" altLang="zh-CN" dirty="0">
                <a:solidFill>
                  <a:srgbClr val="1A1918"/>
                </a:solidFill>
                <a:latin typeface="微软雅黑" panose="020B0503020204020204" pitchFamily="34" charset="-122"/>
                <a:ea typeface="微软雅黑" panose="020B0503020204020204" pitchFamily="34" charset="-122"/>
              </a:rPr>
            </a:br>
            <a:r>
              <a:rPr lang="zh-CN" altLang="en-US" dirty="0">
                <a:solidFill>
                  <a:srgbClr val="1A1918"/>
                </a:solidFill>
                <a:latin typeface="微软雅黑" panose="020B0503020204020204" pitchFamily="34" charset="-122"/>
                <a:ea typeface="微软雅黑" panose="020B0503020204020204" pitchFamily="34" charset="-122"/>
              </a:rPr>
              <a:t>（达泽优）</a:t>
            </a:r>
            <a:endParaRPr lang="en-JP" dirty="0">
              <a:solidFill>
                <a:srgbClr val="1A1918"/>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26253156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p:txBody>
          <a:bodyPr>
            <a:normAutofit/>
          </a:bodyPr>
          <a:lstStyle/>
          <a:p>
            <a:r>
              <a:rPr lang="zh-CN" altLang="en-US" sz="3200">
                <a:latin typeface="微软雅黑" panose="020B0503020204020204" pitchFamily="34" charset="-122"/>
                <a:ea typeface="微软雅黑" panose="020B0503020204020204" pitchFamily="34" charset="-122"/>
              </a:rPr>
              <a:t>目录</a:t>
            </a:r>
            <a:endParaRPr lang="en-JP" sz="3200">
              <a:latin typeface="微软雅黑" panose="020B0503020204020204" pitchFamily="34" charset="-122"/>
              <a:ea typeface="微软雅黑" panose="020B0503020204020204" pitchFamily="34" charset="-122"/>
            </a:endParaRPr>
          </a:p>
        </p:txBody>
      </p:sp>
      <p:sp>
        <p:nvSpPr>
          <p:cNvPr id="5" name="Rectangle 8">
            <a:extLst>
              <a:ext uri="{FF2B5EF4-FFF2-40B4-BE49-F238E27FC236}">
                <a16:creationId xmlns:a16="http://schemas.microsoft.com/office/drawing/2014/main" id="{ECDC47DE-77D6-426C-B817-B00C44E8D1B1}"/>
              </a:ext>
            </a:extLst>
          </p:cNvPr>
          <p:cNvSpPr/>
          <p:nvPr/>
        </p:nvSpPr>
        <p:spPr>
          <a:xfrm>
            <a:off x="1803465" y="1725673"/>
            <a:ext cx="680983" cy="685801"/>
          </a:xfrm>
          <a:prstGeom prst="rect">
            <a:avLst/>
          </a:prstGeom>
          <a:solidFill>
            <a:schemeClr val="accent2"/>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lang="en-US" altLang="zh-CN" b="1" kern="0">
                <a:solidFill>
                  <a:srgbClr val="FFFFFF"/>
                </a:solidFill>
                <a:latin typeface="微软雅黑" panose="020B0503020204020204" pitchFamily="34" charset="-122"/>
                <a:ea typeface="微软雅黑" panose="020B0503020204020204" pitchFamily="34" charset="-122"/>
              </a:rPr>
              <a:t>1</a:t>
            </a:r>
            <a:endParaRPr lang="en-GB" b="1" kern="0">
              <a:solidFill>
                <a:srgbClr val="FFFFFF"/>
              </a:solidFill>
              <a:latin typeface="微软雅黑" panose="020B0503020204020204" pitchFamily="34" charset="-122"/>
              <a:ea typeface="微软雅黑" panose="020B0503020204020204" pitchFamily="34" charset="-122"/>
            </a:endParaRPr>
          </a:p>
        </p:txBody>
      </p:sp>
      <p:sp>
        <p:nvSpPr>
          <p:cNvPr id="6" name="Rectangle 8">
            <a:extLst>
              <a:ext uri="{FF2B5EF4-FFF2-40B4-BE49-F238E27FC236}">
                <a16:creationId xmlns:a16="http://schemas.microsoft.com/office/drawing/2014/main" id="{BF736C93-E167-4913-8470-B44928EB101F}"/>
              </a:ext>
            </a:extLst>
          </p:cNvPr>
          <p:cNvSpPr/>
          <p:nvPr/>
        </p:nvSpPr>
        <p:spPr>
          <a:xfrm>
            <a:off x="2564686" y="1725673"/>
            <a:ext cx="2808505" cy="685801"/>
          </a:xfrm>
          <a:prstGeom prst="rect">
            <a:avLst/>
          </a:prstGeom>
          <a:solidFill>
            <a:schemeClr val="accent2">
              <a:lumMod val="20000"/>
              <a:lumOff val="80000"/>
            </a:schemeClr>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sz="1800" b="1">
                <a:solidFill>
                  <a:schemeClr val="bg1"/>
                </a:solidFill>
                <a:latin typeface="微软雅黑" panose="020B0503020204020204" pitchFamily="34" charset="-122"/>
                <a:ea typeface="微软雅黑" panose="020B0503020204020204" pitchFamily="34" charset="-122"/>
              </a:rPr>
              <a:t>药品基本信息</a:t>
            </a:r>
          </a:p>
        </p:txBody>
      </p:sp>
      <p:sp>
        <p:nvSpPr>
          <p:cNvPr id="7" name="Rectangle 8">
            <a:extLst>
              <a:ext uri="{FF2B5EF4-FFF2-40B4-BE49-F238E27FC236}">
                <a16:creationId xmlns:a16="http://schemas.microsoft.com/office/drawing/2014/main" id="{E5B49FAA-B59E-43F7-87A7-F2E7CD5F1AAD}"/>
              </a:ext>
            </a:extLst>
          </p:cNvPr>
          <p:cNvSpPr/>
          <p:nvPr/>
        </p:nvSpPr>
        <p:spPr>
          <a:xfrm>
            <a:off x="1803465" y="2864776"/>
            <a:ext cx="680983" cy="685801"/>
          </a:xfrm>
          <a:prstGeom prst="rect">
            <a:avLst/>
          </a:prstGeom>
          <a:solidFill>
            <a:schemeClr val="accent2"/>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lang="en-US" b="1" kern="0" dirty="0">
                <a:solidFill>
                  <a:srgbClr val="FFFFFF"/>
                </a:solidFill>
                <a:latin typeface="微软雅黑" panose="020B0503020204020204" pitchFamily="34" charset="-122"/>
                <a:ea typeface="微软雅黑" panose="020B0503020204020204" pitchFamily="34" charset="-122"/>
              </a:rPr>
              <a:t>2</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8" name="Rectangle 8">
            <a:extLst>
              <a:ext uri="{FF2B5EF4-FFF2-40B4-BE49-F238E27FC236}">
                <a16:creationId xmlns:a16="http://schemas.microsoft.com/office/drawing/2014/main" id="{A58E1C35-493D-4ECE-BAB1-073144B7A246}"/>
              </a:ext>
            </a:extLst>
          </p:cNvPr>
          <p:cNvSpPr/>
          <p:nvPr/>
        </p:nvSpPr>
        <p:spPr>
          <a:xfrm>
            <a:off x="2564686" y="2864776"/>
            <a:ext cx="2808505" cy="685801"/>
          </a:xfrm>
          <a:prstGeom prst="rect">
            <a:avLst/>
          </a:prstGeom>
          <a:solidFill>
            <a:schemeClr val="accent2">
              <a:lumMod val="20000"/>
              <a:lumOff val="80000"/>
            </a:schemeClr>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b="1" dirty="0">
                <a:solidFill>
                  <a:schemeClr val="bg1"/>
                </a:solidFill>
                <a:latin typeface="微软雅黑" panose="020B0503020204020204" pitchFamily="34" charset="-122"/>
                <a:ea typeface="微软雅黑" panose="020B0503020204020204" pitchFamily="34" charset="-122"/>
              </a:rPr>
              <a:t>安全</a:t>
            </a:r>
            <a:r>
              <a:rPr kumimoji="1" lang="zh-CN" altLang="en-US" sz="1800" b="1" dirty="0">
                <a:solidFill>
                  <a:schemeClr val="bg1"/>
                </a:solidFill>
                <a:latin typeface="微软雅黑" panose="020B0503020204020204" pitchFamily="34" charset="-122"/>
                <a:ea typeface="微软雅黑" panose="020B0503020204020204" pitchFamily="34" charset="-122"/>
              </a:rPr>
              <a:t>性</a:t>
            </a:r>
          </a:p>
        </p:txBody>
      </p:sp>
      <p:sp>
        <p:nvSpPr>
          <p:cNvPr id="9" name="Rectangle 8">
            <a:extLst>
              <a:ext uri="{FF2B5EF4-FFF2-40B4-BE49-F238E27FC236}">
                <a16:creationId xmlns:a16="http://schemas.microsoft.com/office/drawing/2014/main" id="{ACAA8949-3B4B-4C1F-9EFF-DF66223B8E3F}"/>
              </a:ext>
            </a:extLst>
          </p:cNvPr>
          <p:cNvSpPr/>
          <p:nvPr/>
        </p:nvSpPr>
        <p:spPr>
          <a:xfrm>
            <a:off x="1803465" y="4003878"/>
            <a:ext cx="680983" cy="685801"/>
          </a:xfrm>
          <a:prstGeom prst="rect">
            <a:avLst/>
          </a:prstGeom>
          <a:solidFill>
            <a:schemeClr val="accent2"/>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lang="en-US" altLang="zh-CN" b="1" kern="0" dirty="0">
                <a:solidFill>
                  <a:srgbClr val="FFFFFF"/>
                </a:solidFill>
                <a:latin typeface="微软雅黑" panose="020B0503020204020204" pitchFamily="34" charset="-122"/>
                <a:ea typeface="微软雅黑" panose="020B0503020204020204" pitchFamily="34" charset="-122"/>
              </a:rPr>
              <a:t>3</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10" name="Rectangle 8">
            <a:extLst>
              <a:ext uri="{FF2B5EF4-FFF2-40B4-BE49-F238E27FC236}">
                <a16:creationId xmlns:a16="http://schemas.microsoft.com/office/drawing/2014/main" id="{70CAD0C0-AFE6-425F-95FD-7026CD76ECBE}"/>
              </a:ext>
            </a:extLst>
          </p:cNvPr>
          <p:cNvSpPr/>
          <p:nvPr/>
        </p:nvSpPr>
        <p:spPr>
          <a:xfrm>
            <a:off x="2564686" y="4003878"/>
            <a:ext cx="2808505" cy="685801"/>
          </a:xfrm>
          <a:prstGeom prst="rect">
            <a:avLst/>
          </a:prstGeom>
          <a:solidFill>
            <a:schemeClr val="accent2">
              <a:lumMod val="20000"/>
              <a:lumOff val="80000"/>
            </a:schemeClr>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sz="1800" b="1" dirty="0">
                <a:solidFill>
                  <a:schemeClr val="bg1"/>
                </a:solidFill>
                <a:latin typeface="微软雅黑" panose="020B0503020204020204" pitchFamily="34" charset="-122"/>
                <a:ea typeface="微软雅黑" panose="020B0503020204020204" pitchFamily="34" charset="-122"/>
              </a:rPr>
              <a:t>有效性</a:t>
            </a:r>
          </a:p>
        </p:txBody>
      </p:sp>
      <p:sp>
        <p:nvSpPr>
          <p:cNvPr id="13" name="Rectangle 8">
            <a:extLst>
              <a:ext uri="{FF2B5EF4-FFF2-40B4-BE49-F238E27FC236}">
                <a16:creationId xmlns:a16="http://schemas.microsoft.com/office/drawing/2014/main" id="{AF0F697D-3C75-455D-9742-E7D44D79D22D}"/>
              </a:ext>
            </a:extLst>
          </p:cNvPr>
          <p:cNvSpPr/>
          <p:nvPr/>
        </p:nvSpPr>
        <p:spPr>
          <a:xfrm>
            <a:off x="6827516" y="1725673"/>
            <a:ext cx="680983" cy="685801"/>
          </a:xfrm>
          <a:prstGeom prst="rect">
            <a:avLst/>
          </a:prstGeom>
          <a:solidFill>
            <a:schemeClr val="accent2"/>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lang="en-US" altLang="zh-CN" b="1" kern="0" dirty="0">
                <a:solidFill>
                  <a:srgbClr val="FFFFFF"/>
                </a:solidFill>
                <a:latin typeface="微软雅黑" panose="020B0503020204020204" pitchFamily="34" charset="-122"/>
                <a:ea typeface="微软雅黑" panose="020B0503020204020204" pitchFamily="34" charset="-122"/>
              </a:rPr>
              <a:t>4</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14" name="Rectangle 8">
            <a:extLst>
              <a:ext uri="{FF2B5EF4-FFF2-40B4-BE49-F238E27FC236}">
                <a16:creationId xmlns:a16="http://schemas.microsoft.com/office/drawing/2014/main" id="{2336BA2F-C8BC-42BA-96B0-8C624F243519}"/>
              </a:ext>
            </a:extLst>
          </p:cNvPr>
          <p:cNvSpPr/>
          <p:nvPr/>
        </p:nvSpPr>
        <p:spPr>
          <a:xfrm>
            <a:off x="7588737" y="1725673"/>
            <a:ext cx="2808505" cy="685801"/>
          </a:xfrm>
          <a:prstGeom prst="rect">
            <a:avLst/>
          </a:prstGeom>
          <a:solidFill>
            <a:schemeClr val="accent2">
              <a:lumMod val="20000"/>
              <a:lumOff val="80000"/>
            </a:schemeClr>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sz="1800" b="1" dirty="0">
                <a:solidFill>
                  <a:schemeClr val="bg1"/>
                </a:solidFill>
                <a:latin typeface="微软雅黑" panose="020B0503020204020204" pitchFamily="34" charset="-122"/>
                <a:ea typeface="微软雅黑" panose="020B0503020204020204" pitchFamily="34" charset="-122"/>
              </a:rPr>
              <a:t>创新性</a:t>
            </a:r>
          </a:p>
        </p:txBody>
      </p:sp>
      <p:sp>
        <p:nvSpPr>
          <p:cNvPr id="15" name="Rectangle 8">
            <a:extLst>
              <a:ext uri="{FF2B5EF4-FFF2-40B4-BE49-F238E27FC236}">
                <a16:creationId xmlns:a16="http://schemas.microsoft.com/office/drawing/2014/main" id="{A766C1DC-DA77-4D0C-8C63-D18266644097}"/>
              </a:ext>
            </a:extLst>
          </p:cNvPr>
          <p:cNvSpPr/>
          <p:nvPr/>
        </p:nvSpPr>
        <p:spPr>
          <a:xfrm>
            <a:off x="6827516" y="2864776"/>
            <a:ext cx="680983" cy="685801"/>
          </a:xfrm>
          <a:prstGeom prst="rect">
            <a:avLst/>
          </a:prstGeom>
          <a:solidFill>
            <a:schemeClr val="accent2"/>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lang="en-US" altLang="zh-CN" b="1" kern="0" dirty="0">
                <a:solidFill>
                  <a:srgbClr val="FFFFFF"/>
                </a:solidFill>
                <a:latin typeface="微软雅黑" panose="020B0503020204020204" pitchFamily="34" charset="-122"/>
                <a:ea typeface="微软雅黑" panose="020B0503020204020204" pitchFamily="34" charset="-122"/>
              </a:rPr>
              <a:t>5</a:t>
            </a:r>
            <a:endParaRPr lang="en-GB" b="1" kern="0" dirty="0">
              <a:solidFill>
                <a:srgbClr val="FFFFFF"/>
              </a:solidFill>
              <a:latin typeface="微软雅黑" panose="020B0503020204020204" pitchFamily="34" charset="-122"/>
              <a:ea typeface="微软雅黑" panose="020B0503020204020204" pitchFamily="34" charset="-122"/>
            </a:endParaRPr>
          </a:p>
        </p:txBody>
      </p:sp>
      <p:sp>
        <p:nvSpPr>
          <p:cNvPr id="16" name="Rectangle 8">
            <a:extLst>
              <a:ext uri="{FF2B5EF4-FFF2-40B4-BE49-F238E27FC236}">
                <a16:creationId xmlns:a16="http://schemas.microsoft.com/office/drawing/2014/main" id="{FB93AF8E-7686-4365-9E21-A8F9A86945E6}"/>
              </a:ext>
            </a:extLst>
          </p:cNvPr>
          <p:cNvSpPr/>
          <p:nvPr/>
        </p:nvSpPr>
        <p:spPr>
          <a:xfrm>
            <a:off x="7588737" y="2864776"/>
            <a:ext cx="2808505" cy="685801"/>
          </a:xfrm>
          <a:prstGeom prst="rect">
            <a:avLst/>
          </a:prstGeom>
          <a:solidFill>
            <a:schemeClr val="accent2">
              <a:lumMod val="20000"/>
              <a:lumOff val="80000"/>
            </a:schemeClr>
          </a:solidFill>
          <a:ln w="25400" cap="flat" cmpd="sng" algn="ctr">
            <a:noFill/>
            <a:prstDash val="solid"/>
          </a:ln>
          <a:effectLst>
            <a:outerShdw blurRad="50800" dist="38100" dir="2700000" algn="tl" rotWithShape="0">
              <a:prstClr val="black">
                <a:alpha val="40000"/>
              </a:prstClr>
            </a:outerShdw>
          </a:effectLst>
        </p:spPr>
        <p:txBody>
          <a:bodyPr tIns="90000" bIns="90000" rtlCol="0" anchor="ctr"/>
          <a:lstStyle/>
          <a:p>
            <a:pPr algn="ctr"/>
            <a:r>
              <a:rPr kumimoji="1" lang="zh-CN" altLang="en-US" b="1" dirty="0">
                <a:solidFill>
                  <a:schemeClr val="bg1"/>
                </a:solidFill>
                <a:latin typeface="微软雅黑" panose="020B0503020204020204" pitchFamily="34" charset="-122"/>
                <a:ea typeface="微软雅黑" panose="020B0503020204020204" pitchFamily="34" charset="-122"/>
              </a:rPr>
              <a:t>公平性</a:t>
            </a:r>
            <a:endParaRPr kumimoji="1" lang="zh-CN" altLang="en-US" sz="1800" b="1" dirty="0">
              <a:solidFill>
                <a:schemeClr val="bg1"/>
              </a:solidFill>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488822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药品基本信息</a:t>
            </a:r>
            <a:endParaRPr lang="en-JP" sz="3200" dirty="0">
              <a:solidFill>
                <a:srgbClr val="1A1918"/>
              </a:solidFill>
              <a:latin typeface="微软雅黑" panose="020B0503020204020204" pitchFamily="34" charset="-122"/>
              <a:ea typeface="微软雅黑" panose="020B0503020204020204" pitchFamily="34" charset="-122"/>
            </a:endParaRPr>
          </a:p>
        </p:txBody>
      </p:sp>
      <p:sp>
        <p:nvSpPr>
          <p:cNvPr id="22" name="椭圆 21">
            <a:extLst>
              <a:ext uri="{FF2B5EF4-FFF2-40B4-BE49-F238E27FC236}">
                <a16:creationId xmlns:a16="http://schemas.microsoft.com/office/drawing/2014/main" id="{5F530736-32AD-42C7-B3FC-79FE10B74A3A}"/>
              </a:ext>
            </a:extLst>
          </p:cNvPr>
          <p:cNvSpPr/>
          <p:nvPr/>
        </p:nvSpPr>
        <p:spPr>
          <a:xfrm>
            <a:off x="616186" y="315174"/>
            <a:ext cx="360000" cy="360000"/>
          </a:xfrm>
          <a:prstGeom prst="ellipse">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a:solidFill>
                  <a:schemeClr val="bg1"/>
                </a:solidFill>
                <a:latin typeface="微软雅黑" panose="020B0503020204020204" pitchFamily="34" charset="-122"/>
                <a:ea typeface="微软雅黑" panose="020B0503020204020204" pitchFamily="34" charset="-122"/>
              </a:rPr>
              <a:t>1</a:t>
            </a:r>
            <a:endParaRPr kumimoji="1" lang="zh-CN" altLang="en-US" sz="1600" b="1">
              <a:solidFill>
                <a:schemeClr val="bg1"/>
              </a:solidFill>
              <a:latin typeface="微软雅黑" panose="020B0503020204020204" pitchFamily="34" charset="-122"/>
              <a:ea typeface="微软雅黑" panose="020B0503020204020204" pitchFamily="34" charset="-122"/>
            </a:endParaRPr>
          </a:p>
        </p:txBody>
      </p:sp>
      <p:grpSp>
        <p:nvGrpSpPr>
          <p:cNvPr id="2" name="组合 1">
            <a:extLst>
              <a:ext uri="{FF2B5EF4-FFF2-40B4-BE49-F238E27FC236}">
                <a16:creationId xmlns:a16="http://schemas.microsoft.com/office/drawing/2014/main" id="{F0DCE59D-AC03-49A0-A937-37015407ED28}"/>
              </a:ext>
            </a:extLst>
          </p:cNvPr>
          <p:cNvGrpSpPr/>
          <p:nvPr/>
        </p:nvGrpSpPr>
        <p:grpSpPr>
          <a:xfrm>
            <a:off x="4007919" y="1529003"/>
            <a:ext cx="7568280" cy="4962820"/>
            <a:chOff x="2058707" y="1578542"/>
            <a:chExt cx="7964444" cy="4361158"/>
          </a:xfrm>
        </p:grpSpPr>
        <p:sp>
          <p:nvSpPr>
            <p:cNvPr id="23" name="矩形: 圆角 22">
              <a:extLst>
                <a:ext uri="{FF2B5EF4-FFF2-40B4-BE49-F238E27FC236}">
                  <a16:creationId xmlns:a16="http://schemas.microsoft.com/office/drawing/2014/main" id="{C42D7144-9BCF-4A34-80A9-B62CD682B103}"/>
                </a:ext>
              </a:extLst>
            </p:cNvPr>
            <p:cNvSpPr/>
            <p:nvPr/>
          </p:nvSpPr>
          <p:spPr>
            <a:xfrm>
              <a:off x="2058707" y="1692087"/>
              <a:ext cx="7964444" cy="4003109"/>
            </a:xfrm>
            <a:prstGeom prst="roundRect">
              <a:avLst/>
            </a:prstGeom>
            <a:noFill/>
            <a:ln w="19050">
              <a:noFill/>
            </a:ln>
          </p:spPr>
          <p:style>
            <a:lnRef idx="1">
              <a:schemeClr val="accent1"/>
            </a:lnRef>
            <a:fillRef idx="0">
              <a:schemeClr val="accent1"/>
            </a:fillRef>
            <a:effectRef idx="0">
              <a:schemeClr val="accent1"/>
            </a:effectRef>
            <a:fontRef idx="minor">
              <a:schemeClr val="tx1"/>
            </a:fontRef>
          </p:style>
          <p:txBody>
            <a:bodyPr wrap="square" rtlCol="0" anchor="t"/>
            <a:lstStyle/>
            <a:p>
              <a:pPr marL="171450" indent="-171450">
                <a:lnSpc>
                  <a:spcPct val="150000"/>
                </a:lnSpc>
                <a:buFont typeface="Arial" panose="020B0604020202020204" pitchFamily="34" charset="0"/>
                <a:buChar char="•"/>
              </a:pPr>
              <a:r>
                <a:rPr kumimoji="1" lang="zh-CN" altLang="en-US" sz="1200" b="1" dirty="0">
                  <a:solidFill>
                    <a:srgbClr val="1A1918"/>
                  </a:solidFill>
                  <a:latin typeface="微软雅黑" panose="020B0503020204020204" pitchFamily="34" charset="-122"/>
                  <a:ea typeface="微软雅黑" panose="020B0503020204020204" pitchFamily="34" charset="-122"/>
                </a:rPr>
                <a:t>药品通用名：</a:t>
              </a:r>
              <a:r>
                <a:rPr kumimoji="1" lang="zh-CN" altLang="en-US" sz="1200" dirty="0">
                  <a:solidFill>
                    <a:srgbClr val="1A1918"/>
                  </a:solidFill>
                  <a:latin typeface="微软雅黑" panose="020B0503020204020204" pitchFamily="34" charset="-122"/>
                  <a:ea typeface="微软雅黑" panose="020B0503020204020204" pitchFamily="34" charset="-122"/>
                </a:rPr>
                <a:t>拉那利尤单抗注射液</a:t>
              </a:r>
              <a:endParaRPr kumimoji="1" lang="en-US" altLang="zh-CN" sz="12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200" b="1" dirty="0">
                  <a:solidFill>
                    <a:srgbClr val="1A1918"/>
                  </a:solidFill>
                  <a:latin typeface="微软雅黑" panose="020B0503020204020204" pitchFamily="34" charset="-122"/>
                  <a:ea typeface="微软雅黑" panose="020B0503020204020204" pitchFamily="34" charset="-122"/>
                </a:rPr>
                <a:t>注册规格：</a:t>
              </a:r>
              <a:r>
                <a:rPr kumimoji="1" lang="en-US" altLang="zh-CN" sz="1200" dirty="0">
                  <a:solidFill>
                    <a:srgbClr val="1A1918"/>
                  </a:solidFill>
                  <a:latin typeface="微软雅黑" panose="020B0503020204020204" pitchFamily="34" charset="-122"/>
                  <a:ea typeface="微软雅黑" panose="020B0503020204020204" pitchFamily="34" charset="-122"/>
                </a:rPr>
                <a:t>300mg/2ml (150mg/ml)</a:t>
              </a:r>
            </a:p>
            <a:p>
              <a:pPr marL="171450" indent="-171450">
                <a:lnSpc>
                  <a:spcPct val="150000"/>
                </a:lnSpc>
                <a:buFont typeface="Arial" panose="020B0604020202020204" pitchFamily="34" charset="0"/>
                <a:buChar char="•"/>
              </a:pPr>
              <a:r>
                <a:rPr kumimoji="1" lang="zh-CN" altLang="en-US" sz="1200" b="1" dirty="0">
                  <a:solidFill>
                    <a:srgbClr val="1A1918"/>
                  </a:solidFill>
                  <a:latin typeface="微软雅黑" panose="020B0503020204020204" pitchFamily="34" charset="-122"/>
                  <a:ea typeface="微软雅黑" panose="020B0503020204020204" pitchFamily="34" charset="-122"/>
                </a:rPr>
                <a:t>说明书适应症：</a:t>
              </a:r>
              <a:r>
                <a:rPr kumimoji="1" lang="zh-CN" altLang="en-US" sz="1200" dirty="0">
                  <a:solidFill>
                    <a:srgbClr val="1A1918"/>
                  </a:solidFill>
                  <a:latin typeface="微软雅黑" panose="020B0503020204020204" pitchFamily="34" charset="-122"/>
                  <a:ea typeface="微软雅黑" panose="020B0503020204020204" pitchFamily="34" charset="-122"/>
                </a:rPr>
                <a:t>本品适用于</a:t>
              </a:r>
              <a:r>
                <a:rPr kumimoji="1" lang="en-US" altLang="zh-CN" sz="1400" b="1" dirty="0">
                  <a:solidFill>
                    <a:srgbClr val="1A1918"/>
                  </a:solidFill>
                  <a:latin typeface="微软雅黑" panose="020B0503020204020204" pitchFamily="34" charset="-122"/>
                  <a:ea typeface="微软雅黑" panose="020B0503020204020204" pitchFamily="34" charset="-122"/>
                </a:rPr>
                <a:t>12</a:t>
              </a:r>
              <a:r>
                <a:rPr kumimoji="1" lang="zh-CN" altLang="en-US" sz="1400" b="1" dirty="0">
                  <a:solidFill>
                    <a:srgbClr val="1A1918"/>
                  </a:solidFill>
                  <a:latin typeface="微软雅黑" panose="020B0503020204020204" pitchFamily="34" charset="-122"/>
                  <a:ea typeface="微软雅黑" panose="020B0503020204020204" pitchFamily="34" charset="-122"/>
                </a:rPr>
                <a:t>岁</a:t>
              </a:r>
              <a:r>
                <a:rPr kumimoji="1" lang="zh-CN" altLang="en-US" sz="1200" dirty="0">
                  <a:solidFill>
                    <a:srgbClr val="1A1918"/>
                  </a:solidFill>
                  <a:latin typeface="微软雅黑" panose="020B0503020204020204" pitchFamily="34" charset="-122"/>
                  <a:ea typeface="微软雅黑" panose="020B0503020204020204" pitchFamily="34" charset="-122"/>
                </a:rPr>
                <a:t>及以上患者预防遗传性血管性水肿（</a:t>
              </a:r>
              <a:r>
                <a:rPr kumimoji="1" lang="en-US" altLang="zh-CN" sz="1200" dirty="0">
                  <a:solidFill>
                    <a:srgbClr val="1A1918"/>
                  </a:solidFill>
                  <a:latin typeface="微软雅黑" panose="020B0503020204020204" pitchFamily="34" charset="-122"/>
                  <a:ea typeface="微软雅黑" panose="020B0503020204020204" pitchFamily="34" charset="-122"/>
                </a:rPr>
                <a:t>HAE</a:t>
              </a:r>
              <a:r>
                <a:rPr kumimoji="1" lang="zh-CN" altLang="en-US" sz="1200" dirty="0">
                  <a:solidFill>
                    <a:srgbClr val="1A1918"/>
                  </a:solidFill>
                  <a:latin typeface="微软雅黑" panose="020B0503020204020204" pitchFamily="34" charset="-122"/>
                  <a:ea typeface="微软雅黑" panose="020B0503020204020204" pitchFamily="34" charset="-122"/>
                </a:rPr>
                <a:t>）的发作</a:t>
              </a:r>
              <a:endParaRPr kumimoji="1" lang="en-US" altLang="zh-CN" sz="12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200" b="1" dirty="0">
                  <a:solidFill>
                    <a:srgbClr val="1A1918"/>
                  </a:solidFill>
                  <a:latin typeface="微软雅黑" panose="020B0503020204020204" pitchFamily="34" charset="-122"/>
                  <a:ea typeface="微软雅黑" panose="020B0503020204020204" pitchFamily="34" charset="-122"/>
                </a:rPr>
                <a:t>用法用量：</a:t>
              </a:r>
              <a:r>
                <a:rPr kumimoji="1" lang="zh-CN" altLang="en-US" sz="1200" dirty="0">
                  <a:solidFill>
                    <a:srgbClr val="1A1918"/>
                  </a:solidFill>
                  <a:latin typeface="微软雅黑" panose="020B0503020204020204" pitchFamily="34" charset="-122"/>
                  <a:ea typeface="微软雅黑" panose="020B0503020204020204" pitchFamily="34" charset="-122"/>
                </a:rPr>
                <a:t>推荐的起始剂量为 </a:t>
              </a:r>
              <a:r>
                <a:rPr kumimoji="1" lang="en-US" altLang="zh-CN" sz="1200" dirty="0">
                  <a:solidFill>
                    <a:srgbClr val="1A1918"/>
                  </a:solidFill>
                  <a:latin typeface="微软雅黑" panose="020B0503020204020204" pitchFamily="34" charset="-122"/>
                  <a:ea typeface="微软雅黑" panose="020B0503020204020204" pitchFamily="34" charset="-122"/>
                </a:rPr>
                <a:t>300 mg </a:t>
              </a:r>
              <a:r>
                <a:rPr kumimoji="1" lang="zh-CN" altLang="en-US" sz="1200" dirty="0">
                  <a:solidFill>
                    <a:srgbClr val="1A1918"/>
                  </a:solidFill>
                  <a:latin typeface="微软雅黑" panose="020B0503020204020204" pitchFamily="34" charset="-122"/>
                  <a:ea typeface="微软雅黑" panose="020B0503020204020204" pitchFamily="34" charset="-122"/>
                </a:rPr>
                <a:t>每两周一次。</a:t>
              </a:r>
              <a:r>
                <a:rPr kumimoji="1" lang="en-US" altLang="zh-CN" sz="1200" dirty="0">
                  <a:solidFill>
                    <a:srgbClr val="1A1918"/>
                  </a:solidFill>
                  <a:latin typeface="微软雅黑" panose="020B0503020204020204" pitchFamily="34" charset="-122"/>
                  <a:ea typeface="微软雅黑" panose="020B0503020204020204" pitchFamily="34" charset="-122"/>
                </a:rPr>
                <a:t>300mg </a:t>
              </a:r>
              <a:r>
                <a:rPr kumimoji="1" lang="zh-CN" altLang="en-US" sz="1200" dirty="0">
                  <a:solidFill>
                    <a:srgbClr val="1A1918"/>
                  </a:solidFill>
                  <a:latin typeface="微软雅黑" panose="020B0503020204020204" pitchFamily="34" charset="-122"/>
                  <a:ea typeface="微软雅黑" panose="020B0503020204020204" pitchFamily="34" charset="-122"/>
                </a:rPr>
                <a:t>每</a:t>
              </a:r>
              <a:r>
                <a:rPr kumimoji="1" lang="en-US" altLang="zh-CN" sz="1200" dirty="0">
                  <a:solidFill>
                    <a:srgbClr val="1A1918"/>
                  </a:solidFill>
                  <a:latin typeface="微软雅黑" panose="020B0503020204020204" pitchFamily="34" charset="-122"/>
                  <a:ea typeface="微软雅黑" panose="020B0503020204020204" pitchFamily="34" charset="-122"/>
                </a:rPr>
                <a:t>4</a:t>
              </a:r>
              <a:r>
                <a:rPr kumimoji="1" lang="zh-CN" altLang="en-US" sz="1200" dirty="0">
                  <a:solidFill>
                    <a:srgbClr val="1A1918"/>
                  </a:solidFill>
                  <a:latin typeface="微软雅黑" panose="020B0503020204020204" pitchFamily="34" charset="-122"/>
                  <a:ea typeface="微软雅黑" panose="020B0503020204020204" pitchFamily="34" charset="-122"/>
                </a:rPr>
                <a:t>周一次也有效，如果患者病情得到充分控制（即，无发作）达到</a:t>
              </a:r>
              <a:r>
                <a:rPr kumimoji="1" lang="en-US" altLang="zh-CN" sz="1200" dirty="0">
                  <a:solidFill>
                    <a:srgbClr val="1A1918"/>
                  </a:solidFill>
                  <a:latin typeface="微软雅黑" panose="020B0503020204020204" pitchFamily="34" charset="-122"/>
                  <a:ea typeface="微软雅黑" panose="020B0503020204020204" pitchFamily="34" charset="-122"/>
                </a:rPr>
                <a:t>6</a:t>
              </a:r>
              <a:r>
                <a:rPr kumimoji="1" lang="zh-CN" altLang="en-US" sz="1200" dirty="0">
                  <a:solidFill>
                    <a:srgbClr val="1A1918"/>
                  </a:solidFill>
                  <a:latin typeface="微软雅黑" panose="020B0503020204020204" pitchFamily="34" charset="-122"/>
                  <a:ea typeface="微软雅黑" panose="020B0503020204020204" pitchFamily="34" charset="-122"/>
                </a:rPr>
                <a:t>个月以上，则可以考虑使用该给药间期，即每</a:t>
              </a:r>
              <a:r>
                <a:rPr kumimoji="1" lang="en-US" altLang="zh-CN" sz="1200" dirty="0">
                  <a:solidFill>
                    <a:srgbClr val="1A1918"/>
                  </a:solidFill>
                  <a:latin typeface="微软雅黑" panose="020B0503020204020204" pitchFamily="34" charset="-122"/>
                  <a:ea typeface="微软雅黑" panose="020B0503020204020204" pitchFamily="34" charset="-122"/>
                </a:rPr>
                <a:t>4</a:t>
              </a:r>
              <a:r>
                <a:rPr kumimoji="1" lang="zh-CN" altLang="en-US" sz="1200" dirty="0">
                  <a:solidFill>
                    <a:srgbClr val="1A1918"/>
                  </a:solidFill>
                  <a:latin typeface="微软雅黑" panose="020B0503020204020204" pitchFamily="34" charset="-122"/>
                  <a:ea typeface="微软雅黑" panose="020B0503020204020204" pitchFamily="34" charset="-122"/>
                </a:rPr>
                <a:t>周一次。本品仅供皮下注射使用</a:t>
              </a:r>
              <a:endParaRPr kumimoji="1" lang="en-US" altLang="zh-CN" sz="12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200" b="1" dirty="0">
                  <a:solidFill>
                    <a:srgbClr val="1A1918"/>
                  </a:solidFill>
                  <a:latin typeface="微软雅黑" panose="020B0503020204020204" pitchFamily="34" charset="-122"/>
                  <a:ea typeface="微软雅黑" panose="020B0503020204020204" pitchFamily="34" charset="-122"/>
                </a:rPr>
                <a:t>中国大陆首次上市时间：</a:t>
              </a:r>
              <a:r>
                <a:rPr kumimoji="1" lang="en-US" altLang="zh-CN" sz="1200" dirty="0">
                  <a:solidFill>
                    <a:srgbClr val="1A1918"/>
                  </a:solidFill>
                  <a:latin typeface="微软雅黑" panose="020B0503020204020204" pitchFamily="34" charset="-122"/>
                  <a:ea typeface="微软雅黑" panose="020B0503020204020204" pitchFamily="34" charset="-122"/>
                </a:rPr>
                <a:t>2020</a:t>
              </a:r>
              <a:r>
                <a:rPr kumimoji="1" lang="zh-CN" altLang="en-US" sz="1200" dirty="0">
                  <a:solidFill>
                    <a:srgbClr val="1A1918"/>
                  </a:solidFill>
                  <a:latin typeface="微软雅黑" panose="020B0503020204020204" pitchFamily="34" charset="-122"/>
                  <a:ea typeface="微软雅黑" panose="020B0503020204020204" pitchFamily="34" charset="-122"/>
                </a:rPr>
                <a:t>年</a:t>
              </a:r>
              <a:r>
                <a:rPr kumimoji="1" lang="en-US" altLang="zh-CN" sz="1200" dirty="0">
                  <a:solidFill>
                    <a:srgbClr val="1A1918"/>
                  </a:solidFill>
                  <a:latin typeface="微软雅黑" panose="020B0503020204020204" pitchFamily="34" charset="-122"/>
                  <a:ea typeface="微软雅黑" panose="020B0503020204020204" pitchFamily="34" charset="-122"/>
                </a:rPr>
                <a:t>12</a:t>
              </a:r>
              <a:r>
                <a:rPr kumimoji="1" lang="zh-CN" altLang="en-US" sz="1200" dirty="0">
                  <a:solidFill>
                    <a:srgbClr val="1A1918"/>
                  </a:solidFill>
                  <a:latin typeface="微软雅黑" panose="020B0503020204020204" pitchFamily="34" charset="-122"/>
                  <a:ea typeface="微软雅黑" panose="020B0503020204020204" pitchFamily="34" charset="-122"/>
                </a:rPr>
                <a:t>月</a:t>
              </a:r>
              <a:endParaRPr kumimoji="1" lang="en-US" altLang="zh-CN" sz="12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200" b="1" dirty="0">
                  <a:solidFill>
                    <a:srgbClr val="1A1918"/>
                  </a:solidFill>
                  <a:latin typeface="微软雅黑" panose="020B0503020204020204" pitchFamily="34" charset="-122"/>
                  <a:ea typeface="微软雅黑" panose="020B0503020204020204" pitchFamily="34" charset="-122"/>
                </a:rPr>
                <a:t>目前大陆地区同通用名药品的上市情况：</a:t>
              </a:r>
              <a:r>
                <a:rPr kumimoji="1" lang="zh-CN" altLang="en-US" sz="1200" dirty="0">
                  <a:solidFill>
                    <a:srgbClr val="1A1918"/>
                  </a:solidFill>
                  <a:latin typeface="微软雅黑" panose="020B0503020204020204" pitchFamily="34" charset="-122"/>
                  <a:ea typeface="微软雅黑" panose="020B0503020204020204" pitchFamily="34" charset="-122"/>
                </a:rPr>
                <a:t>无</a:t>
              </a:r>
              <a:endParaRPr kumimoji="1" lang="en-US" altLang="zh-CN" sz="12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200" b="1" dirty="0">
                  <a:solidFill>
                    <a:srgbClr val="1A1918"/>
                  </a:solidFill>
                  <a:latin typeface="微软雅黑" panose="020B0503020204020204" pitchFamily="34" charset="-122"/>
                  <a:ea typeface="微软雅黑" panose="020B0503020204020204" pitchFamily="34" charset="-122"/>
                </a:rPr>
                <a:t>全球首个上市国家</a:t>
              </a:r>
              <a:r>
                <a:rPr kumimoji="1" lang="en-US" altLang="zh-CN" sz="1200" b="1" dirty="0">
                  <a:solidFill>
                    <a:srgbClr val="1A1918"/>
                  </a:solidFill>
                  <a:latin typeface="微软雅黑" panose="020B0503020204020204" pitchFamily="34" charset="-122"/>
                  <a:ea typeface="微软雅黑" panose="020B0503020204020204" pitchFamily="34" charset="-122"/>
                </a:rPr>
                <a:t>/</a:t>
              </a:r>
              <a:r>
                <a:rPr kumimoji="1" lang="zh-CN" altLang="en-US" sz="1200" b="1" dirty="0">
                  <a:solidFill>
                    <a:srgbClr val="1A1918"/>
                  </a:solidFill>
                  <a:latin typeface="微软雅黑" panose="020B0503020204020204" pitchFamily="34" charset="-122"/>
                  <a:ea typeface="微软雅黑" panose="020B0503020204020204" pitchFamily="34" charset="-122"/>
                </a:rPr>
                <a:t>地区及上市时间：</a:t>
              </a:r>
              <a:r>
                <a:rPr kumimoji="1" lang="zh-CN" altLang="en-US" sz="1200" dirty="0">
                  <a:solidFill>
                    <a:srgbClr val="1A1918"/>
                  </a:solidFill>
                  <a:latin typeface="微软雅黑" panose="020B0503020204020204" pitchFamily="34" charset="-122"/>
                  <a:ea typeface="微软雅黑" panose="020B0503020204020204" pitchFamily="34" charset="-122"/>
                </a:rPr>
                <a:t>美国，</a:t>
              </a:r>
              <a:r>
                <a:rPr kumimoji="1" lang="en-US" altLang="zh-CN" sz="1200" dirty="0">
                  <a:solidFill>
                    <a:srgbClr val="1A1918"/>
                  </a:solidFill>
                  <a:latin typeface="微软雅黑" panose="020B0503020204020204" pitchFamily="34" charset="-122"/>
                  <a:ea typeface="微软雅黑" panose="020B0503020204020204" pitchFamily="34" charset="-122"/>
                </a:rPr>
                <a:t>2018</a:t>
              </a:r>
              <a:r>
                <a:rPr kumimoji="1" lang="zh-CN" altLang="en-US" sz="1200" dirty="0">
                  <a:solidFill>
                    <a:srgbClr val="1A1918"/>
                  </a:solidFill>
                  <a:latin typeface="微软雅黑" panose="020B0503020204020204" pitchFamily="34" charset="-122"/>
                  <a:ea typeface="微软雅黑" panose="020B0503020204020204" pitchFamily="34" charset="-122"/>
                </a:rPr>
                <a:t>年</a:t>
              </a:r>
              <a:r>
                <a:rPr kumimoji="1" lang="en-US" altLang="zh-CN" sz="1200" dirty="0">
                  <a:solidFill>
                    <a:srgbClr val="1A1918"/>
                  </a:solidFill>
                  <a:latin typeface="微软雅黑" panose="020B0503020204020204" pitchFamily="34" charset="-122"/>
                  <a:ea typeface="微软雅黑" panose="020B0503020204020204" pitchFamily="34" charset="-122"/>
                </a:rPr>
                <a:t>8</a:t>
              </a:r>
              <a:r>
                <a:rPr kumimoji="1" lang="zh-CN" altLang="en-US" sz="1200" dirty="0">
                  <a:solidFill>
                    <a:srgbClr val="1A1918"/>
                  </a:solidFill>
                  <a:latin typeface="微软雅黑" panose="020B0503020204020204" pitchFamily="34" charset="-122"/>
                  <a:ea typeface="微软雅黑" panose="020B0503020204020204" pitchFamily="34" charset="-122"/>
                </a:rPr>
                <a:t>月</a:t>
              </a:r>
              <a:endParaRPr kumimoji="1" lang="en-US" altLang="zh-CN" sz="12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200" b="1" dirty="0">
                  <a:solidFill>
                    <a:srgbClr val="1A1918"/>
                  </a:solidFill>
                  <a:latin typeface="微软雅黑" panose="020B0503020204020204" pitchFamily="34" charset="-122"/>
                  <a:ea typeface="微软雅黑" panose="020B0503020204020204" pitchFamily="34" charset="-122"/>
                </a:rPr>
                <a:t>专利情况</a:t>
              </a:r>
              <a:r>
                <a:rPr kumimoji="1" lang="zh-CN" altLang="en-US" sz="1200" dirty="0">
                  <a:solidFill>
                    <a:srgbClr val="1A1918"/>
                  </a:solidFill>
                  <a:latin typeface="微软雅黑" panose="020B0503020204020204" pitchFamily="34" charset="-122"/>
                  <a:ea typeface="微软雅黑" panose="020B0503020204020204" pitchFamily="34" charset="-122"/>
                </a:rPr>
                <a:t>：专利到期</a:t>
              </a:r>
              <a:r>
                <a:rPr kumimoji="1" lang="en-US" altLang="zh-CN" sz="1200" dirty="0">
                  <a:solidFill>
                    <a:srgbClr val="1A1918"/>
                  </a:solidFill>
                  <a:latin typeface="微软雅黑" panose="020B0503020204020204" pitchFamily="34" charset="-122"/>
                  <a:ea typeface="微软雅黑" panose="020B0503020204020204" pitchFamily="34" charset="-122"/>
                </a:rPr>
                <a:t>2032</a:t>
              </a:r>
              <a:r>
                <a:rPr kumimoji="1" lang="zh-CN" altLang="en-US" sz="1200" dirty="0">
                  <a:solidFill>
                    <a:srgbClr val="1A1918"/>
                  </a:solidFill>
                  <a:latin typeface="微软雅黑" panose="020B0503020204020204" pitchFamily="34" charset="-122"/>
                  <a:ea typeface="微软雅黑" panose="020B0503020204020204" pitchFamily="34" charset="-122"/>
                </a:rPr>
                <a:t>年，剩余</a:t>
              </a:r>
              <a:r>
                <a:rPr kumimoji="1" lang="en-US" altLang="zh-CN" sz="1200" dirty="0">
                  <a:solidFill>
                    <a:srgbClr val="1A1918"/>
                  </a:solidFill>
                  <a:latin typeface="微软雅黑" panose="020B0503020204020204" pitchFamily="34" charset="-122"/>
                  <a:ea typeface="微软雅黑" panose="020B0503020204020204" pitchFamily="34" charset="-122"/>
                </a:rPr>
                <a:t>10</a:t>
              </a:r>
              <a:r>
                <a:rPr kumimoji="1" lang="zh-CN" altLang="en-US" sz="1200" dirty="0">
                  <a:solidFill>
                    <a:srgbClr val="1A1918"/>
                  </a:solidFill>
                  <a:latin typeface="微软雅黑" panose="020B0503020204020204" pitchFamily="34" charset="-122"/>
                  <a:ea typeface="微软雅黑" panose="020B0503020204020204" pitchFamily="34" charset="-122"/>
                </a:rPr>
                <a:t>年</a:t>
              </a:r>
              <a:endParaRPr kumimoji="1" lang="en-US" altLang="zh-CN" sz="12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200" b="1" dirty="0">
                  <a:solidFill>
                    <a:srgbClr val="1A1918"/>
                  </a:solidFill>
                  <a:latin typeface="微软雅黑" panose="020B0503020204020204" pitchFamily="34" charset="-122"/>
                  <a:ea typeface="微软雅黑" panose="020B0503020204020204" pitchFamily="34" charset="-122"/>
                </a:rPr>
                <a:t>是否为</a:t>
              </a:r>
              <a:r>
                <a:rPr kumimoji="1" lang="en-US" altLang="zh-CN" sz="1200" b="1" dirty="0">
                  <a:solidFill>
                    <a:srgbClr val="1A1918"/>
                  </a:solidFill>
                  <a:latin typeface="微软雅黑" panose="020B0503020204020204" pitchFamily="34" charset="-122"/>
                  <a:ea typeface="微软雅黑" panose="020B0503020204020204" pitchFamily="34" charset="-122"/>
                </a:rPr>
                <a:t>OTC</a:t>
              </a:r>
              <a:r>
                <a:rPr kumimoji="1" lang="zh-CN" altLang="en-US" sz="1200" b="1" dirty="0">
                  <a:solidFill>
                    <a:srgbClr val="1A1918"/>
                  </a:solidFill>
                  <a:latin typeface="微软雅黑" panose="020B0503020204020204" pitchFamily="34" charset="-122"/>
                  <a:ea typeface="微软雅黑" panose="020B0503020204020204" pitchFamily="34" charset="-122"/>
                </a:rPr>
                <a:t>药品：</a:t>
              </a:r>
              <a:r>
                <a:rPr kumimoji="1" lang="zh-CN" altLang="en-US" sz="1200" dirty="0">
                  <a:solidFill>
                    <a:srgbClr val="1A1918"/>
                  </a:solidFill>
                  <a:latin typeface="微软雅黑" panose="020B0503020204020204" pitchFamily="34" charset="-122"/>
                  <a:ea typeface="微软雅黑" panose="020B0503020204020204" pitchFamily="34" charset="-122"/>
                </a:rPr>
                <a:t>否</a:t>
              </a:r>
              <a:endParaRPr kumimoji="1" lang="en-US" altLang="zh-CN" sz="12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200" b="1" dirty="0">
                  <a:solidFill>
                    <a:srgbClr val="1A1918"/>
                  </a:solidFill>
                  <a:latin typeface="微软雅黑" panose="020B0503020204020204" pitchFamily="34" charset="-122"/>
                  <a:ea typeface="微软雅黑" panose="020B0503020204020204" pitchFamily="34" charset="-122"/>
                </a:rPr>
                <a:t>参照药品建议：</a:t>
              </a:r>
              <a:r>
                <a:rPr kumimoji="1" lang="zh-CN" altLang="en-US" sz="1200" dirty="0">
                  <a:solidFill>
                    <a:srgbClr val="1A1918"/>
                  </a:solidFill>
                  <a:latin typeface="微软雅黑" panose="020B0503020204020204" pitchFamily="34" charset="-122"/>
                  <a:ea typeface="微软雅黑" panose="020B0503020204020204" pitchFamily="34" charset="-122"/>
                </a:rPr>
                <a:t>无适当参照药物：</a:t>
              </a:r>
              <a:r>
                <a:rPr kumimoji="1" lang="en-US" altLang="zh-CN" sz="1200" dirty="0">
                  <a:solidFill>
                    <a:srgbClr val="1A1918"/>
                  </a:solidFill>
                  <a:latin typeface="微软雅黑" panose="020B0503020204020204" pitchFamily="34" charset="-122"/>
                  <a:ea typeface="微软雅黑" panose="020B0503020204020204" pitchFamily="34" charset="-122"/>
                </a:rPr>
                <a:t>1</a:t>
              </a:r>
              <a:r>
                <a:rPr kumimoji="1" lang="zh-CN" altLang="en-US" sz="1200" dirty="0">
                  <a:solidFill>
                    <a:srgbClr val="1A1918"/>
                  </a:solidFill>
                  <a:latin typeface="微软雅黑" panose="020B0503020204020204" pitchFamily="34" charset="-122"/>
                  <a:ea typeface="微软雅黑" panose="020B0503020204020204" pitchFamily="34" charset="-122"/>
                </a:rPr>
                <a:t>）其他国家报销评估参照药物为血源性的</a:t>
              </a:r>
              <a:r>
                <a:rPr kumimoji="1" lang="en-US" altLang="zh-CN" sz="1200" dirty="0">
                  <a:solidFill>
                    <a:srgbClr val="1A1918"/>
                  </a:solidFill>
                  <a:latin typeface="微软雅黑" panose="020B0503020204020204" pitchFamily="34" charset="-122"/>
                  <a:ea typeface="微软雅黑" panose="020B0503020204020204" pitchFamily="34" charset="-122"/>
                </a:rPr>
                <a:t>C1-</a:t>
              </a:r>
              <a:r>
                <a:rPr kumimoji="1" lang="zh-CN" altLang="en-US" sz="1200" dirty="0">
                  <a:solidFill>
                    <a:srgbClr val="1A1918"/>
                  </a:solidFill>
                  <a:latin typeface="微软雅黑" panose="020B0503020204020204" pitchFamily="34" charset="-122"/>
                  <a:ea typeface="微软雅黑" panose="020B0503020204020204" pitchFamily="34" charset="-122"/>
                </a:rPr>
                <a:t>酯酶抑制物等一线治疗药物（见下图），但国内均未获批上市；</a:t>
              </a:r>
              <a:r>
                <a:rPr kumimoji="1" lang="en-US" altLang="zh-CN" sz="1200" dirty="0">
                  <a:solidFill>
                    <a:srgbClr val="1A1918"/>
                  </a:solidFill>
                  <a:latin typeface="微软雅黑" panose="020B0503020204020204" pitchFamily="34" charset="-122"/>
                  <a:ea typeface="微软雅黑" panose="020B0503020204020204" pitchFamily="34" charset="-122"/>
                </a:rPr>
                <a:t>2)</a:t>
              </a:r>
              <a:r>
                <a:rPr kumimoji="1" lang="zh-CN" altLang="en-US" sz="1200" dirty="0">
                  <a:solidFill>
                    <a:srgbClr val="1A1918"/>
                  </a:solidFill>
                  <a:latin typeface="微软雅黑" panose="020B0503020204020204" pitchFamily="34" charset="-122"/>
                  <a:ea typeface="微软雅黑" panose="020B0503020204020204" pitchFamily="34" charset="-122"/>
                </a:rPr>
                <a:t>国家医保目录内无相同人群适应症药品，尤其是适用于儿童患者的治疗药物</a:t>
              </a:r>
              <a:endParaRPr kumimoji="1" lang="en-US" altLang="zh-CN" sz="1200" dirty="0">
                <a:solidFill>
                  <a:srgbClr val="1A1918"/>
                </a:solidFill>
                <a:latin typeface="微软雅黑" panose="020B0503020204020204" pitchFamily="34" charset="-122"/>
                <a:ea typeface="微软雅黑" panose="020B0503020204020204" pitchFamily="34" charset="-122"/>
              </a:endParaRPr>
            </a:p>
          </p:txBody>
        </p:sp>
        <p:sp>
          <p:nvSpPr>
            <p:cNvPr id="25" name="矩形: 圆角 24">
              <a:extLst>
                <a:ext uri="{FF2B5EF4-FFF2-40B4-BE49-F238E27FC236}">
                  <a16:creationId xmlns:a16="http://schemas.microsoft.com/office/drawing/2014/main" id="{356BFD52-73BF-4103-816D-FBC97D1E9AA0}"/>
                </a:ext>
              </a:extLst>
            </p:cNvPr>
            <p:cNvSpPr/>
            <p:nvPr/>
          </p:nvSpPr>
          <p:spPr>
            <a:xfrm>
              <a:off x="2168849" y="1763803"/>
              <a:ext cx="7854302" cy="4175897"/>
            </a:xfrm>
            <a:prstGeom prst="roundRect">
              <a:avLst>
                <a:gd name="adj" fmla="val 4348"/>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26" name="矩形: 圆角 25">
              <a:extLst>
                <a:ext uri="{FF2B5EF4-FFF2-40B4-BE49-F238E27FC236}">
                  <a16:creationId xmlns:a16="http://schemas.microsoft.com/office/drawing/2014/main" id="{59D77BB5-ED6B-4CC1-8E85-828E92BC723B}"/>
                </a:ext>
              </a:extLst>
            </p:cNvPr>
            <p:cNvSpPr/>
            <p:nvPr/>
          </p:nvSpPr>
          <p:spPr>
            <a:xfrm>
              <a:off x="2168849" y="1578542"/>
              <a:ext cx="7854302" cy="366433"/>
            </a:xfrm>
            <a:prstGeom prst="round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chemeClr val="bg1"/>
                  </a:solidFill>
                  <a:latin typeface="微软雅黑" panose="020B0503020204020204" pitchFamily="34" charset="-122"/>
                  <a:ea typeface="微软雅黑" panose="020B0503020204020204" pitchFamily="34" charset="-122"/>
                </a:rPr>
                <a:t>拉那利尤单抗注射液基本信息</a:t>
              </a:r>
            </a:p>
          </p:txBody>
        </p:sp>
      </p:grpSp>
      <p:sp>
        <p:nvSpPr>
          <p:cNvPr id="30" name="Text Placeholder 5">
            <a:extLst>
              <a:ext uri="{FF2B5EF4-FFF2-40B4-BE49-F238E27FC236}">
                <a16:creationId xmlns:a16="http://schemas.microsoft.com/office/drawing/2014/main" id="{DD869588-D922-4590-8375-B0D7163A9093}"/>
              </a:ext>
            </a:extLst>
          </p:cNvPr>
          <p:cNvSpPr txBox="1">
            <a:spLocks/>
          </p:cNvSpPr>
          <p:nvPr/>
        </p:nvSpPr>
        <p:spPr>
          <a:xfrm>
            <a:off x="1038225" y="817217"/>
            <a:ext cx="10853738" cy="263075"/>
          </a:xfrm>
          <a:prstGeom prst="rect">
            <a:avLst/>
          </a:prstGeom>
        </p:spPr>
        <p:txBody>
          <a:bodyP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zh-CN" sz="1800" b="1" dirty="0">
                <a:solidFill>
                  <a:srgbClr val="1A1918"/>
                </a:solidFill>
                <a:latin typeface="微软雅黑" panose="020B0503020204020204" pitchFamily="34" charset="-122"/>
                <a:ea typeface="微软雅黑" panose="020B0503020204020204" pitchFamily="34" charset="-122"/>
              </a:rPr>
              <a:t>——</a:t>
            </a:r>
            <a:r>
              <a:rPr lang="zh-CN" altLang="en-US" sz="1800" b="1" dirty="0">
                <a:solidFill>
                  <a:srgbClr val="1A1918"/>
                </a:solidFill>
                <a:latin typeface="微软雅黑" panose="020B0503020204020204" pitchFamily="34" charset="-122"/>
                <a:ea typeface="微软雅黑" panose="020B0503020204020204" pitchFamily="34" charset="-122"/>
              </a:rPr>
              <a:t>全球首个且唯一用于</a:t>
            </a:r>
            <a:r>
              <a:rPr lang="en-US" altLang="zh-CN" sz="1800" b="1" dirty="0">
                <a:solidFill>
                  <a:srgbClr val="1A1918"/>
                </a:solidFill>
                <a:latin typeface="微软雅黑" panose="020B0503020204020204" pitchFamily="34" charset="-122"/>
                <a:ea typeface="微软雅黑" panose="020B0503020204020204" pitchFamily="34" charset="-122"/>
              </a:rPr>
              <a:t>HAE</a:t>
            </a:r>
            <a:r>
              <a:rPr lang="zh-CN" altLang="en-US" sz="1800" b="1" dirty="0">
                <a:solidFill>
                  <a:srgbClr val="1A1918"/>
                </a:solidFill>
                <a:latin typeface="微软雅黑" panose="020B0503020204020204" pitchFamily="34" charset="-122"/>
                <a:ea typeface="微软雅黑" panose="020B0503020204020204" pitchFamily="34" charset="-122"/>
              </a:rPr>
              <a:t>针对性治疗的全人源单克隆抗体，有效降低</a:t>
            </a:r>
            <a:r>
              <a:rPr lang="en-US" altLang="zh-CN" sz="1800" b="1" dirty="0">
                <a:solidFill>
                  <a:srgbClr val="1A1918"/>
                </a:solidFill>
                <a:latin typeface="微软雅黑" panose="020B0503020204020204" pitchFamily="34" charset="-122"/>
                <a:ea typeface="微软雅黑" panose="020B0503020204020204" pitchFamily="34" charset="-122"/>
              </a:rPr>
              <a:t>HAE</a:t>
            </a:r>
            <a:r>
              <a:rPr lang="zh-CN" altLang="en-US" sz="1800" b="1" dirty="0">
                <a:solidFill>
                  <a:srgbClr val="1A1918"/>
                </a:solidFill>
                <a:latin typeface="微软雅黑" panose="020B0503020204020204" pitchFamily="34" charset="-122"/>
                <a:ea typeface="微软雅黑" panose="020B0503020204020204" pitchFamily="34" charset="-122"/>
              </a:rPr>
              <a:t>发作，实现潜在“零发作”，填补中国</a:t>
            </a:r>
            <a:r>
              <a:rPr lang="en-US" altLang="zh-CN" sz="1800" b="1" dirty="0">
                <a:solidFill>
                  <a:srgbClr val="1A1918"/>
                </a:solidFill>
                <a:latin typeface="微软雅黑" panose="020B0503020204020204" pitchFamily="34" charset="-122"/>
                <a:ea typeface="微软雅黑" panose="020B0503020204020204" pitchFamily="34" charset="-122"/>
              </a:rPr>
              <a:t>HAE</a:t>
            </a:r>
            <a:r>
              <a:rPr lang="zh-CN" altLang="en-US" sz="1800" b="1" dirty="0">
                <a:solidFill>
                  <a:srgbClr val="1A1918"/>
                </a:solidFill>
                <a:latin typeface="微软雅黑" panose="020B0503020204020204" pitchFamily="34" charset="-122"/>
                <a:ea typeface="微软雅黑" panose="020B0503020204020204" pitchFamily="34" charset="-122"/>
              </a:rPr>
              <a:t>长期无针对性治疗的空白</a:t>
            </a:r>
          </a:p>
          <a:p>
            <a:pPr marL="0" indent="0">
              <a:buNone/>
            </a:pPr>
            <a:endParaRPr lang="en-JP" sz="1800" b="1" dirty="0">
              <a:solidFill>
                <a:srgbClr val="1A1918"/>
              </a:solidFill>
              <a:latin typeface="微软雅黑" panose="020B0503020204020204" pitchFamily="34" charset="-122"/>
              <a:ea typeface="微软雅黑" panose="020B0503020204020204" pitchFamily="34" charset="-122"/>
            </a:endParaRPr>
          </a:p>
        </p:txBody>
      </p:sp>
      <p:grpSp>
        <p:nvGrpSpPr>
          <p:cNvPr id="31" name="组合 30">
            <a:extLst>
              <a:ext uri="{FF2B5EF4-FFF2-40B4-BE49-F238E27FC236}">
                <a16:creationId xmlns:a16="http://schemas.microsoft.com/office/drawing/2014/main" id="{F0E086B9-EB08-4B29-9EAD-AFA620AAFB59}"/>
              </a:ext>
            </a:extLst>
          </p:cNvPr>
          <p:cNvGrpSpPr/>
          <p:nvPr/>
        </p:nvGrpSpPr>
        <p:grpSpPr>
          <a:xfrm>
            <a:off x="1292211" y="2090571"/>
            <a:ext cx="2677218" cy="1465586"/>
            <a:chOff x="14561" y="3079"/>
            <a:chExt cx="6255" cy="3494"/>
          </a:xfrm>
        </p:grpSpPr>
        <p:sp>
          <p:nvSpPr>
            <p:cNvPr id="32" name="TextBox 17">
              <a:extLst>
                <a:ext uri="{FF2B5EF4-FFF2-40B4-BE49-F238E27FC236}">
                  <a16:creationId xmlns:a16="http://schemas.microsoft.com/office/drawing/2014/main" id="{14C78C28-D959-465C-B871-8B3DEBA3DCB1}"/>
                </a:ext>
              </a:extLst>
            </p:cNvPr>
            <p:cNvSpPr txBox="1">
              <a:spLocks noChangeArrowheads="1"/>
            </p:cNvSpPr>
            <p:nvPr/>
          </p:nvSpPr>
          <p:spPr bwMode="auto">
            <a:xfrm>
              <a:off x="14874" y="5864"/>
              <a:ext cx="5942" cy="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eaLnBrk="0" hangingPunct="0">
                <a:defRPr>
                  <a:solidFill>
                    <a:schemeClr val="tx1"/>
                  </a:solidFill>
                  <a:latin typeface="Arial" panose="020B0604020202020204" pitchFamily="34" charset="0"/>
                  <a:cs typeface="Arial" panose="020B0604020202020204" pitchFamily="34" charset="0"/>
                </a:defRPr>
              </a:lvl1pPr>
              <a:lvl2pPr marL="742950" indent="-285750" eaLnBrk="0" hangingPunct="0">
                <a:defRPr>
                  <a:solidFill>
                    <a:schemeClr val="tx1"/>
                  </a:solidFill>
                  <a:latin typeface="Arial" panose="020B0604020202020204" pitchFamily="34" charset="0"/>
                  <a:cs typeface="Arial" panose="020B0604020202020204" pitchFamily="34" charset="0"/>
                </a:defRPr>
              </a:lvl2pPr>
              <a:lvl3pPr marL="1143000" indent="-228600" eaLnBrk="0" hangingPunct="0">
                <a:defRPr>
                  <a:solidFill>
                    <a:schemeClr val="tx1"/>
                  </a:solidFill>
                  <a:latin typeface="Arial" panose="020B0604020202020204" pitchFamily="34" charset="0"/>
                  <a:cs typeface="Arial" panose="020B0604020202020204" pitchFamily="34" charset="0"/>
                </a:defRPr>
              </a:lvl3pPr>
              <a:lvl4pPr marL="1600200" indent="-228600" eaLnBrk="0" hangingPunct="0">
                <a:defRPr>
                  <a:solidFill>
                    <a:schemeClr val="tx1"/>
                  </a:solidFill>
                  <a:latin typeface="Arial" panose="020B0604020202020204" pitchFamily="34" charset="0"/>
                  <a:cs typeface="Arial" panose="020B0604020202020204" pitchFamily="34" charset="0"/>
                </a:defRPr>
              </a:lvl4pPr>
              <a:lvl5pPr marL="2057400" indent="-228600" eaLnBrk="0" hangingPunct="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lnSpc>
                  <a:spcPct val="130000"/>
                </a:lnSpc>
              </a:pPr>
              <a:r>
                <a:rPr lang="zh-CN" sz="900">
                  <a:solidFill>
                    <a:schemeClr val="accent2"/>
                  </a:solidFill>
                  <a:ea typeface="微软雅黑" panose="020B0503020204020204" pitchFamily="34" charset="-122"/>
                  <a:sym typeface="Arial" panose="020B0604020202020204" pitchFamily="34" charset="0"/>
                </a:rPr>
                <a:t>皮下注射液</a:t>
              </a:r>
              <a:endParaRPr lang="zh-CN" sz="900" baseline="30000">
                <a:solidFill>
                  <a:schemeClr val="accent2"/>
                </a:solidFill>
                <a:ea typeface="微软雅黑" panose="020B0503020204020204" pitchFamily="34" charset="-122"/>
                <a:sym typeface="Arial" panose="020B0604020202020204" pitchFamily="34" charset="0"/>
              </a:endParaRPr>
            </a:p>
          </p:txBody>
        </p:sp>
        <p:pic>
          <p:nvPicPr>
            <p:cNvPr id="33" name="图片 32">
              <a:extLst>
                <a:ext uri="{FF2B5EF4-FFF2-40B4-BE49-F238E27FC236}">
                  <a16:creationId xmlns:a16="http://schemas.microsoft.com/office/drawing/2014/main" id="{97E6DE74-6310-4E3A-880F-E5FC3A3C0BA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r="40041"/>
            <a:stretch>
              <a:fillRect/>
            </a:stretch>
          </p:blipFill>
          <p:spPr>
            <a:xfrm>
              <a:off x="14561" y="3079"/>
              <a:ext cx="1885" cy="3494"/>
            </a:xfrm>
            <a:prstGeom prst="rect">
              <a:avLst/>
            </a:prstGeom>
          </p:spPr>
        </p:pic>
        <p:grpSp>
          <p:nvGrpSpPr>
            <p:cNvPr id="34" name="Group 15">
              <a:extLst>
                <a:ext uri="{FF2B5EF4-FFF2-40B4-BE49-F238E27FC236}">
                  <a16:creationId xmlns:a16="http://schemas.microsoft.com/office/drawing/2014/main" id="{12A03E2E-4319-4EA0-864D-26BDD4EB0B07}"/>
                </a:ext>
              </a:extLst>
            </p:cNvPr>
            <p:cNvGrpSpPr/>
            <p:nvPr/>
          </p:nvGrpSpPr>
          <p:grpSpPr bwMode="auto">
            <a:xfrm rot="10800000">
              <a:off x="16768" y="4502"/>
              <a:ext cx="2330" cy="1189"/>
              <a:chOff x="468152" y="1817266"/>
              <a:chExt cx="1479709" cy="755436"/>
            </a:xfrm>
          </p:grpSpPr>
          <p:sp>
            <p:nvSpPr>
              <p:cNvPr id="36" name="Rounded Rectangle 16">
                <a:extLst>
                  <a:ext uri="{FF2B5EF4-FFF2-40B4-BE49-F238E27FC236}">
                    <a16:creationId xmlns:a16="http://schemas.microsoft.com/office/drawing/2014/main" id="{9BB860E2-8D94-4D35-B7E5-17D1E266E060}"/>
                  </a:ext>
                </a:extLst>
              </p:cNvPr>
              <p:cNvSpPr/>
              <p:nvPr/>
            </p:nvSpPr>
            <p:spPr>
              <a:xfrm>
                <a:off x="468152" y="1817266"/>
                <a:ext cx="1479709" cy="471730"/>
              </a:xfrm>
              <a:prstGeom prst="roundRect">
                <a:avLst>
                  <a:gd name="adj" fmla="val 8613"/>
                </a:avLst>
              </a:prstGeom>
              <a:gradFill flip="none" rotWithShape="1">
                <a:gsLst>
                  <a:gs pos="15000">
                    <a:srgbClr val="2995D2">
                      <a:lumMod val="40000"/>
                      <a:lumOff val="60000"/>
                    </a:srgbClr>
                  </a:gs>
                  <a:gs pos="63000">
                    <a:srgbClr val="2995D2">
                      <a:lumMod val="60000"/>
                      <a:lumOff val="40000"/>
                    </a:srgbClr>
                  </a:gs>
                  <a:gs pos="100000">
                    <a:srgbClr val="2995D2"/>
                  </a:gs>
                </a:gsLst>
                <a:path path="circle">
                  <a:fillToRect l="50000" t="50000" r="50000" b="50000"/>
                </a:path>
                <a:tileRect/>
              </a:gradFill>
              <a:ln w="19050" cap="flat" cmpd="sng" algn="ctr">
                <a:solidFill>
                  <a:srgbClr val="2995D2"/>
                </a:solidFill>
                <a:prstDash val="solid"/>
              </a:ln>
              <a:effectLst/>
            </p:spPr>
            <p:txBody>
              <a:bodyPr anchor="ctr"/>
              <a:lstStyle/>
              <a:p>
                <a:pPr marL="0" marR="0" lvl="0" indent="0" algn="ctr" defTabSz="914400" eaLnBrk="1" fontAlgn="base" latinLnBrk="0" hangingPunct="1">
                  <a:lnSpc>
                    <a:spcPct val="130000"/>
                  </a:lnSpc>
                  <a:spcBef>
                    <a:spcPct val="0"/>
                  </a:spcBef>
                  <a:spcAft>
                    <a:spcPct val="0"/>
                  </a:spcAft>
                  <a:buClrTx/>
                  <a:buSzTx/>
                  <a:buFontTx/>
                  <a:buNone/>
                  <a:defRPr/>
                </a:pPr>
                <a:endParaRPr kumimoji="0" lang="en-GB" sz="1800" b="0" i="0" u="none" strike="noStrike" kern="0" cap="none" spc="0" normalizeH="0" baseline="0" noProof="0">
                  <a:ln>
                    <a:noFill/>
                  </a:ln>
                  <a:solidFill>
                    <a:prstClr val="white"/>
                  </a:solidFill>
                  <a:effectLst/>
                  <a:uLnTx/>
                  <a:uFillTx/>
                  <a:latin typeface="Arial" panose="020B0604020202020204" pitchFamily="34" charset="0"/>
                  <a:ea typeface="微软雅黑" panose="020B0503020204020204" pitchFamily="34" charset="-122"/>
                  <a:sym typeface="Arial" panose="020B0604020202020204" pitchFamily="34" charset="0"/>
                </a:endParaRPr>
              </a:p>
            </p:txBody>
          </p:sp>
          <p:pic>
            <p:nvPicPr>
              <p:cNvPr id="38" name="Picture 17">
                <a:extLst>
                  <a:ext uri="{FF2B5EF4-FFF2-40B4-BE49-F238E27FC236}">
                    <a16:creationId xmlns:a16="http://schemas.microsoft.com/office/drawing/2014/main" id="{9096DD37-66EF-45F5-8706-C12DA1D73524}"/>
                  </a:ext>
                </a:extLst>
              </p:cNvPr>
              <p:cNvPicPr>
                <a:picLocks noChangeAspect="1"/>
              </p:cNvPicPr>
              <p:nvPr/>
            </p:nvPicPr>
            <p:blipFill>
              <a:blip r:embed="rId8"/>
              <a:stretch>
                <a:fillRect/>
              </a:stretch>
            </p:blipFill>
            <p:spPr>
              <a:xfrm rot="16200000">
                <a:off x="842722" y="1519349"/>
                <a:ext cx="730466" cy="1376240"/>
              </a:xfrm>
              <a:prstGeom prst="roundRect">
                <a:avLst/>
              </a:prstGeom>
              <a:effectLst>
                <a:outerShdw blurRad="76200" sy="23000" kx="-1200000" algn="bl" rotWithShape="0">
                  <a:prstClr val="black">
                    <a:alpha val="5000"/>
                  </a:prstClr>
                </a:outerShdw>
              </a:effectLst>
            </p:spPr>
          </p:pic>
        </p:grpSp>
      </p:grpSp>
      <p:sp>
        <p:nvSpPr>
          <p:cNvPr id="39" name="文本框 38">
            <a:extLst>
              <a:ext uri="{FF2B5EF4-FFF2-40B4-BE49-F238E27FC236}">
                <a16:creationId xmlns:a16="http://schemas.microsoft.com/office/drawing/2014/main" id="{8B1379D0-6CE9-47B8-90B7-A46BFCF00763}"/>
              </a:ext>
            </a:extLst>
          </p:cNvPr>
          <p:cNvSpPr txBox="1"/>
          <p:nvPr/>
        </p:nvSpPr>
        <p:spPr>
          <a:xfrm>
            <a:off x="1007205" y="3650387"/>
            <a:ext cx="2677218" cy="3046988"/>
          </a:xfrm>
          <a:prstGeom prst="rect">
            <a:avLst/>
          </a:prstGeom>
          <a:noFill/>
        </p:spPr>
        <p:txBody>
          <a:bodyPr wrap="square">
            <a:spAutoFit/>
          </a:bodyPr>
          <a:lstStyle>
            <a:defPPr>
              <a:defRPr lang="en-US"/>
            </a:defPPr>
            <a:lvl1pPr marL="171450" indent="-171450">
              <a:buFont typeface="Arial" panose="020B0604020202020204" pitchFamily="34" charset="0"/>
              <a:buChar char="•"/>
              <a:defRPr sz="1200" u="none" strike="noStrike" baseline="0">
                <a:solidFill>
                  <a:srgbClr val="333333"/>
                </a:solidFill>
                <a:latin typeface="微软雅黑" panose="020B0503020204020204" pitchFamily="34" charset="-122"/>
                <a:ea typeface="微软雅黑" panose="020B0503020204020204" pitchFamily="34" charset="-122"/>
              </a:defRPr>
            </a:lvl1pPr>
          </a:lstStyle>
          <a:p>
            <a:r>
              <a:rPr kumimoji="1" lang="zh-CN" altLang="en-US" sz="1600" dirty="0">
                <a:solidFill>
                  <a:srgbClr val="1A1918"/>
                </a:solidFill>
                <a:latin typeface="微软雅黑" panose="020B0503020204020204" pitchFamily="34" charset="-122"/>
                <a:ea typeface="微软雅黑" panose="020B0503020204020204" pitchFamily="34" charset="-122"/>
              </a:rPr>
              <a:t>拉那利尤单抗</a:t>
            </a:r>
            <a:r>
              <a:rPr lang="zh-CN" altLang="en-US" sz="1600" b="1" u="none" strike="noStrike" baseline="0" dirty="0">
                <a:solidFill>
                  <a:schemeClr val="accent2"/>
                </a:solidFill>
                <a:latin typeface="微软雅黑" panose="020B0503020204020204" pitchFamily="34" charset="-122"/>
                <a:ea typeface="微软雅黑" panose="020B0503020204020204" pitchFamily="34" charset="-122"/>
              </a:rPr>
              <a:t>全球首个且唯一用于</a:t>
            </a:r>
            <a:r>
              <a:rPr lang="en-US" altLang="zh-CN" sz="1600" b="1" dirty="0">
                <a:solidFill>
                  <a:schemeClr val="accent2"/>
                </a:solidFill>
                <a:latin typeface="微软雅黑" panose="020B0503020204020204" pitchFamily="34" charset="-122"/>
                <a:ea typeface="微软雅黑" panose="020B0503020204020204" pitchFamily="34" charset="-122"/>
              </a:rPr>
              <a:t>HAE</a:t>
            </a:r>
            <a:r>
              <a:rPr lang="zh-CN" altLang="en-US" sz="1600" b="1" dirty="0">
                <a:solidFill>
                  <a:schemeClr val="accent2"/>
                </a:solidFill>
                <a:latin typeface="微软雅黑" panose="020B0503020204020204" pitchFamily="34" charset="-122"/>
                <a:ea typeface="微软雅黑" panose="020B0503020204020204" pitchFamily="34" charset="-122"/>
              </a:rPr>
              <a:t>针对性治疗</a:t>
            </a:r>
            <a:r>
              <a:rPr lang="zh-CN" altLang="en-US" sz="1600" b="1" u="none" strike="noStrike" baseline="0" dirty="0">
                <a:solidFill>
                  <a:schemeClr val="accent2"/>
                </a:solidFill>
                <a:latin typeface="微软雅黑" panose="020B0503020204020204" pitchFamily="34" charset="-122"/>
                <a:ea typeface="微软雅黑" panose="020B0503020204020204" pitchFamily="34" charset="-122"/>
              </a:rPr>
              <a:t>的全人源单克隆抗体</a:t>
            </a:r>
            <a:endParaRPr lang="en-US" altLang="zh-CN" sz="1600" b="1" u="none" strike="noStrike" baseline="0" dirty="0">
              <a:solidFill>
                <a:schemeClr val="accent2"/>
              </a:solidFill>
              <a:latin typeface="微软雅黑" panose="020B0503020204020204" pitchFamily="34" charset="-122"/>
              <a:ea typeface="微软雅黑" panose="020B0503020204020204" pitchFamily="34" charset="-122"/>
            </a:endParaRPr>
          </a:p>
          <a:p>
            <a:r>
              <a:rPr lang="zh-CN" altLang="zh-CN" sz="1600" dirty="0">
                <a:solidFill>
                  <a:srgbClr val="080808"/>
                </a:solidFill>
                <a:latin typeface="Arial" panose="020B0604020202020204" pitchFamily="34" charset="0"/>
                <a:ea typeface="微软雅黑" panose="020B0503020204020204" pitchFamily="34" charset="-122"/>
                <a:sym typeface="Arial" panose="020B0604020202020204" pitchFamily="34" charset="0"/>
              </a:rPr>
              <a:t>它是一种强效、高度特异性血浆激肽释放酶抑制剂</a:t>
            </a:r>
            <a:r>
              <a:rPr lang="zh-CN" altLang="en-US" sz="1600" dirty="0">
                <a:solidFill>
                  <a:srgbClr val="080808"/>
                </a:solidFill>
                <a:latin typeface="Arial" panose="020B0604020202020204" pitchFamily="34" charset="0"/>
                <a:sym typeface="Arial" panose="020B0604020202020204" pitchFamily="34" charset="0"/>
              </a:rPr>
              <a:t>。</a:t>
            </a:r>
            <a:r>
              <a:rPr lang="zh-CN" altLang="en-US" sz="1600" b="1" dirty="0">
                <a:solidFill>
                  <a:schemeClr val="accent2"/>
                </a:solidFill>
                <a:latin typeface="Arial" panose="020B0604020202020204" pitchFamily="34" charset="0"/>
                <a:ea typeface="微软雅黑" panose="020B0503020204020204" pitchFamily="34" charset="-122"/>
                <a:sym typeface="Arial" panose="020B0604020202020204" pitchFamily="34" charset="0"/>
              </a:rPr>
              <a:t>通过特异性抑制血浆激肽释放酶</a:t>
            </a:r>
            <a:r>
              <a:rPr lang="zh-CN" altLang="en-US" sz="1600" dirty="0">
                <a:latin typeface="Arial" panose="020B0604020202020204" pitchFamily="34" charset="0"/>
                <a:ea typeface="微软雅黑" panose="020B0503020204020204" pitchFamily="34" charset="-122"/>
                <a:sym typeface="Arial" panose="020B0604020202020204" pitchFamily="34" charset="0"/>
              </a:rPr>
              <a:t>，针对性</a:t>
            </a:r>
            <a:r>
              <a:rPr lang="zh-CN" altLang="en-US" sz="1600" b="1" dirty="0">
                <a:solidFill>
                  <a:schemeClr val="accent2"/>
                </a:solidFill>
                <a:latin typeface="Arial" panose="020B0604020202020204" pitchFamily="34" charset="0"/>
                <a:ea typeface="微软雅黑" panose="020B0503020204020204" pitchFamily="34" charset="-122"/>
                <a:sym typeface="Arial" panose="020B0604020202020204" pitchFamily="34" charset="0"/>
              </a:rPr>
              <a:t>治疗</a:t>
            </a:r>
            <a:r>
              <a:rPr lang="en-US" altLang="zh-CN" sz="1600" b="1" dirty="0">
                <a:solidFill>
                  <a:schemeClr val="accent2"/>
                </a:solidFill>
                <a:latin typeface="Arial" panose="020B0604020202020204" pitchFamily="34" charset="0"/>
                <a:ea typeface="微软雅黑" panose="020B0503020204020204" pitchFamily="34" charset="-122"/>
                <a:sym typeface="Arial" panose="020B0604020202020204" pitchFamily="34" charset="0"/>
              </a:rPr>
              <a:t>HAE</a:t>
            </a:r>
            <a:r>
              <a:rPr lang="zh-CN" altLang="en-US" sz="1600" b="1" dirty="0">
                <a:solidFill>
                  <a:schemeClr val="accent2"/>
                </a:solidFill>
                <a:latin typeface="Arial" panose="020B0604020202020204" pitchFamily="34" charset="0"/>
                <a:ea typeface="微软雅黑" panose="020B0503020204020204" pitchFamily="34" charset="-122"/>
                <a:sym typeface="Arial" panose="020B0604020202020204" pitchFamily="34" charset="0"/>
              </a:rPr>
              <a:t>患者，填补了中国</a:t>
            </a:r>
            <a:r>
              <a:rPr lang="en-US" altLang="zh-CN" sz="1600" b="1" dirty="0">
                <a:solidFill>
                  <a:schemeClr val="accent2"/>
                </a:solidFill>
                <a:latin typeface="Arial" panose="020B0604020202020204" pitchFamily="34" charset="0"/>
                <a:ea typeface="微软雅黑" panose="020B0503020204020204" pitchFamily="34" charset="-122"/>
                <a:sym typeface="Arial" panose="020B0604020202020204" pitchFamily="34" charset="0"/>
              </a:rPr>
              <a:t>HAE</a:t>
            </a:r>
            <a:r>
              <a:rPr lang="zh-CN" altLang="en-US" sz="1600" b="1" dirty="0">
                <a:solidFill>
                  <a:schemeClr val="accent2"/>
                </a:solidFill>
                <a:latin typeface="Arial" panose="020B0604020202020204" pitchFamily="34" charset="0"/>
                <a:ea typeface="微软雅黑" panose="020B0503020204020204" pitchFamily="34" charset="-122"/>
                <a:sym typeface="Arial" panose="020B0604020202020204" pitchFamily="34" charset="0"/>
              </a:rPr>
              <a:t>长期无针对性治疗的空白</a:t>
            </a:r>
            <a:endParaRPr lang="en-US" altLang="zh-CN" sz="1600" dirty="0">
              <a:solidFill>
                <a:schemeClr val="accent2"/>
              </a:solidFill>
              <a:latin typeface="Arial" panose="020B0604020202020204" pitchFamily="34" charset="0"/>
              <a:ea typeface="微软雅黑" panose="020B0503020204020204" pitchFamily="34" charset="-122"/>
              <a:sym typeface="Arial" panose="020B0604020202020204" pitchFamily="34" charset="0"/>
            </a:endParaRPr>
          </a:p>
          <a:p>
            <a:r>
              <a:rPr kumimoji="1" lang="zh-CN" altLang="en-US" sz="1600" b="1" dirty="0">
                <a:solidFill>
                  <a:schemeClr val="accent2"/>
                </a:solidFill>
                <a:latin typeface="微软雅黑" panose="020B0503020204020204" pitchFamily="34" charset="-122"/>
                <a:ea typeface="微软雅黑" panose="020B0503020204020204" pitchFamily="34" charset="-122"/>
              </a:rPr>
              <a:t>皮下注射治疗</a:t>
            </a:r>
            <a:r>
              <a:rPr kumimoji="1" lang="zh-CN" altLang="en-US" sz="1600" b="1" dirty="0">
                <a:solidFill>
                  <a:srgbClr val="1A1918"/>
                </a:solidFill>
                <a:latin typeface="微软雅黑" panose="020B0503020204020204" pitchFamily="34" charset="-122"/>
                <a:ea typeface="微软雅黑" panose="020B0503020204020204" pitchFamily="34" charset="-122"/>
              </a:rPr>
              <a:t>，</a:t>
            </a:r>
            <a:r>
              <a:rPr kumimoji="1" lang="zh-CN" altLang="en-US" sz="1600" dirty="0">
                <a:solidFill>
                  <a:srgbClr val="1A1918"/>
                </a:solidFill>
                <a:latin typeface="微软雅黑" panose="020B0503020204020204" pitchFamily="34" charset="-122"/>
                <a:ea typeface="微软雅黑" panose="020B0503020204020204" pitchFamily="34" charset="-122"/>
              </a:rPr>
              <a:t>患者使用方便</a:t>
            </a:r>
            <a:endParaRPr kumimoji="1" lang="en-US" altLang="zh-CN" sz="1600" dirty="0">
              <a:solidFill>
                <a:srgbClr val="1A1918"/>
              </a:solidFill>
              <a:latin typeface="微软雅黑" panose="020B0503020204020204" pitchFamily="34" charset="-122"/>
              <a:ea typeface="微软雅黑" panose="020B0503020204020204" pitchFamily="34" charset="-122"/>
            </a:endParaRPr>
          </a:p>
          <a:p>
            <a:endParaRPr lang="zh-CN" altLang="en-US" sz="1600" dirty="0">
              <a:solidFill>
                <a:srgbClr val="080808"/>
              </a:solidFill>
            </a:endParaRPr>
          </a:p>
        </p:txBody>
      </p:sp>
      <p:sp>
        <p:nvSpPr>
          <p:cNvPr id="40" name="矩形: 圆角 39">
            <a:extLst>
              <a:ext uri="{FF2B5EF4-FFF2-40B4-BE49-F238E27FC236}">
                <a16:creationId xmlns:a16="http://schemas.microsoft.com/office/drawing/2014/main" id="{7C1499F2-A489-451F-A40B-FDB485851167}"/>
              </a:ext>
            </a:extLst>
          </p:cNvPr>
          <p:cNvSpPr/>
          <p:nvPr/>
        </p:nvSpPr>
        <p:spPr>
          <a:xfrm>
            <a:off x="860599" y="1529003"/>
            <a:ext cx="2910014" cy="4962820"/>
          </a:xfrm>
          <a:prstGeom prst="roundRect">
            <a:avLst>
              <a:gd name="adj" fmla="val 5188"/>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50" name="矩形 49">
            <a:extLst>
              <a:ext uri="{FF2B5EF4-FFF2-40B4-BE49-F238E27FC236}">
                <a16:creationId xmlns:a16="http://schemas.microsoft.com/office/drawing/2014/main" id="{FD479356-C18A-4978-BD22-72ABA1039082}"/>
              </a:ext>
            </a:extLst>
          </p:cNvPr>
          <p:cNvSpPr/>
          <p:nvPr/>
        </p:nvSpPr>
        <p:spPr>
          <a:xfrm>
            <a:off x="1062075" y="1605059"/>
            <a:ext cx="2507062" cy="396000"/>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rgbClr val="1A1918"/>
                </a:solidFill>
                <a:latin typeface="微软雅黑" panose="020B0503020204020204" pitchFamily="34" charset="-122"/>
                <a:ea typeface="微软雅黑" panose="020B0503020204020204" pitchFamily="34" charset="-122"/>
              </a:rPr>
              <a:t>拉那利尤单抗</a:t>
            </a:r>
            <a:r>
              <a:rPr lang="zh-CN" altLang="en-US" sz="1600" b="1" dirty="0">
                <a:solidFill>
                  <a:srgbClr val="1A1918"/>
                </a:solidFill>
                <a:latin typeface="微软雅黑" panose="020B0503020204020204" pitchFamily="34" charset="-122"/>
                <a:ea typeface="微软雅黑" panose="020B0503020204020204" pitchFamily="34" charset="-122"/>
              </a:rPr>
              <a:t>注射液</a:t>
            </a:r>
            <a:endParaRPr kumimoji="1" lang="zh-CN" altLang="en-US" sz="1600" b="1" dirty="0">
              <a:solidFill>
                <a:srgbClr val="1A1918"/>
              </a:solidFill>
              <a:latin typeface="微软雅黑" panose="020B0503020204020204" pitchFamily="34" charset="-122"/>
              <a:ea typeface="微软雅黑" panose="020B0503020204020204" pitchFamily="34" charset="-122"/>
            </a:endParaRPr>
          </a:p>
        </p:txBody>
      </p:sp>
      <p:pic>
        <p:nvPicPr>
          <p:cNvPr id="5" name="图片 4">
            <a:extLst>
              <a:ext uri="{FF2B5EF4-FFF2-40B4-BE49-F238E27FC236}">
                <a16:creationId xmlns:a16="http://schemas.microsoft.com/office/drawing/2014/main" id="{1544AFD2-DFE7-4AD0-9E34-F02DA6C84BD8}"/>
              </a:ext>
            </a:extLst>
          </p:cNvPr>
          <p:cNvPicPr>
            <a:picLocks noChangeAspect="1"/>
          </p:cNvPicPr>
          <p:nvPr/>
        </p:nvPicPr>
        <p:blipFill>
          <a:blip r:embed="rId9"/>
          <a:stretch>
            <a:fillRect/>
          </a:stretch>
        </p:blipFill>
        <p:spPr>
          <a:xfrm>
            <a:off x="7792059" y="5825628"/>
            <a:ext cx="2866705" cy="632133"/>
          </a:xfrm>
          <a:prstGeom prst="rect">
            <a:avLst/>
          </a:prstGeom>
        </p:spPr>
      </p:pic>
      <p:sp>
        <p:nvSpPr>
          <p:cNvPr id="6" name="文本框 5">
            <a:extLst>
              <a:ext uri="{FF2B5EF4-FFF2-40B4-BE49-F238E27FC236}">
                <a16:creationId xmlns:a16="http://schemas.microsoft.com/office/drawing/2014/main" id="{EBA1BFCE-4060-4DE3-9E97-33B217D2E00A}"/>
              </a:ext>
            </a:extLst>
          </p:cNvPr>
          <p:cNvSpPr txBox="1"/>
          <p:nvPr/>
        </p:nvSpPr>
        <p:spPr>
          <a:xfrm>
            <a:off x="4599709" y="5815416"/>
            <a:ext cx="3089749" cy="612934"/>
          </a:xfrm>
          <a:prstGeom prst="wedgeRoundRectCallout">
            <a:avLst>
              <a:gd name="adj1" fmla="val 53361"/>
              <a:gd name="adj2" fmla="val -3804"/>
              <a:gd name="adj3" fmla="val 16667"/>
            </a:avLst>
          </a:prstGeom>
          <a:noFill/>
          <a:ln>
            <a:solidFill>
              <a:schemeClr val="accent1"/>
            </a:solidFill>
          </a:ln>
        </p:spPr>
        <p:txBody>
          <a:bodyPr wrap="square" rtlCol="0">
            <a:spAutoFit/>
          </a:bodyPr>
          <a:lstStyle/>
          <a:p>
            <a:r>
              <a:rPr lang="en-US" altLang="zh-CN" sz="1000" dirty="0"/>
              <a:t>The </a:t>
            </a:r>
            <a:r>
              <a:rPr lang="en-US" sz="1000" dirty="0"/>
              <a:t>international WAO/EAACI guideline for the management of hereditary angioedema – the 2021 revision and update</a:t>
            </a:r>
          </a:p>
        </p:txBody>
      </p:sp>
    </p:spTree>
    <p:extLst>
      <p:ext uri="{BB962C8B-B14F-4D97-AF65-F5344CB8AC3E}">
        <p14:creationId xmlns:p14="http://schemas.microsoft.com/office/powerpoint/2010/main" val="308950469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矩形: 圆角 23">
            <a:extLst>
              <a:ext uri="{FF2B5EF4-FFF2-40B4-BE49-F238E27FC236}">
                <a16:creationId xmlns:a16="http://schemas.microsoft.com/office/drawing/2014/main" id="{89BF22C8-B669-43A3-88C1-1F21935D06A5}"/>
              </a:ext>
            </a:extLst>
          </p:cNvPr>
          <p:cNvSpPr/>
          <p:nvPr/>
        </p:nvSpPr>
        <p:spPr>
          <a:xfrm>
            <a:off x="512113" y="1817916"/>
            <a:ext cx="5548507" cy="4452800"/>
          </a:xfrm>
          <a:prstGeom prst="roundRect">
            <a:avLst>
              <a:gd name="adj" fmla="val 8844"/>
            </a:avLst>
          </a:prstGeom>
          <a:noFill/>
          <a:ln w="19050">
            <a:noFill/>
          </a:ln>
        </p:spPr>
        <p:style>
          <a:lnRef idx="1">
            <a:schemeClr val="accent1"/>
          </a:lnRef>
          <a:fillRef idx="0">
            <a:schemeClr val="accent1"/>
          </a:fillRef>
          <a:effectRef idx="0">
            <a:schemeClr val="accent1"/>
          </a:effectRef>
          <a:fontRef idx="minor">
            <a:schemeClr val="tx1"/>
          </a:fontRef>
        </p:style>
        <p:txBody>
          <a:bodyPr wrap="square" rtlCol="0" anchor="t"/>
          <a:lstStyle/>
          <a:p>
            <a:pPr marL="171450" indent="-171450">
              <a:lnSpc>
                <a:spcPct val="150000"/>
              </a:lnSpc>
              <a:buFont typeface="Arial" panose="020B0604020202020204" pitchFamily="34" charset="0"/>
              <a:buChar char="•"/>
            </a:pPr>
            <a:r>
              <a:rPr kumimoji="1" lang="zh-CN" altLang="en-US" sz="1200" b="1" dirty="0">
                <a:solidFill>
                  <a:srgbClr val="1A1918"/>
                </a:solidFill>
                <a:latin typeface="微软雅黑" panose="020B0503020204020204" pitchFamily="34" charset="-122"/>
                <a:ea typeface="微软雅黑" panose="020B0503020204020204" pitchFamily="34" charset="-122"/>
              </a:rPr>
              <a:t>治疗疾病基本情况：</a:t>
            </a:r>
            <a:r>
              <a:rPr kumimoji="1" lang="zh-CN" altLang="en-US" sz="1200" dirty="0">
                <a:solidFill>
                  <a:srgbClr val="1A1918"/>
                </a:solidFill>
                <a:latin typeface="微软雅黑" panose="020B0503020204020204" pitchFamily="34" charset="-122"/>
                <a:ea typeface="微软雅黑" panose="020B0503020204020204" pitchFamily="34" charset="-122"/>
              </a:rPr>
              <a:t>遗传性血管性水肿（</a:t>
            </a:r>
            <a:r>
              <a:rPr kumimoji="1" lang="en-US" altLang="zh-CN" sz="1200" dirty="0">
                <a:solidFill>
                  <a:srgbClr val="1A1918"/>
                </a:solidFill>
                <a:latin typeface="微软雅黑" panose="020B0503020204020204" pitchFamily="34" charset="-122"/>
                <a:ea typeface="微软雅黑" panose="020B0503020204020204" pitchFamily="34" charset="-122"/>
              </a:rPr>
              <a:t>HAE</a:t>
            </a:r>
            <a:r>
              <a:rPr kumimoji="1" lang="zh-CN" altLang="en-US" sz="1200" dirty="0">
                <a:solidFill>
                  <a:srgbClr val="1A1918"/>
                </a:solidFill>
                <a:latin typeface="微软雅黑" panose="020B0503020204020204" pitchFamily="34" charset="-122"/>
                <a:ea typeface="微软雅黑" panose="020B0503020204020204" pitchFamily="34" charset="-122"/>
              </a:rPr>
              <a:t>）是一种</a:t>
            </a:r>
            <a:r>
              <a:rPr kumimoji="1" lang="zh-CN" altLang="en-US" sz="1200" b="1" dirty="0">
                <a:solidFill>
                  <a:srgbClr val="1A1918"/>
                </a:solidFill>
                <a:latin typeface="微软雅黑" panose="020B0503020204020204" pitchFamily="34" charset="-122"/>
                <a:ea typeface="微软雅黑" panose="020B0503020204020204" pitchFamily="34" charset="-122"/>
              </a:rPr>
              <a:t>罕见遗传性疾病</a:t>
            </a:r>
            <a:r>
              <a:rPr kumimoji="1" lang="en-US" altLang="zh-CN" sz="1200" b="1" dirty="0">
                <a:solidFill>
                  <a:srgbClr val="1A1918"/>
                </a:solidFill>
                <a:latin typeface="微软雅黑" panose="020B0503020204020204" pitchFamily="34" charset="-122"/>
                <a:ea typeface="微软雅黑" panose="020B0503020204020204" pitchFamily="34" charset="-122"/>
              </a:rPr>
              <a:t>, </a:t>
            </a:r>
            <a:r>
              <a:rPr kumimoji="1" lang="zh-CN" altLang="en-US" sz="1200" b="1" dirty="0">
                <a:solidFill>
                  <a:srgbClr val="1A1918"/>
                </a:solidFill>
                <a:latin typeface="微软雅黑" panose="020B0503020204020204" pitchFamily="34" charset="-122"/>
                <a:ea typeface="微软雅黑" panose="020B0503020204020204" pitchFamily="34" charset="-122"/>
              </a:rPr>
              <a:t>为</a:t>
            </a:r>
            <a:r>
              <a:rPr kumimoji="1" lang="zh-CN" altLang="en-US" sz="1600" b="1" dirty="0">
                <a:solidFill>
                  <a:schemeClr val="accent2"/>
                </a:solidFill>
                <a:latin typeface="微软雅黑" panose="020B0503020204020204" pitchFamily="34" charset="-122"/>
                <a:ea typeface="微软雅黑" panose="020B0503020204020204" pitchFamily="34" charset="-122"/>
              </a:rPr>
              <a:t>第一批</a:t>
            </a:r>
            <a:r>
              <a:rPr kumimoji="1" lang="en-US" altLang="zh-CN" sz="1600" b="1" dirty="0">
                <a:solidFill>
                  <a:schemeClr val="accent2"/>
                </a:solidFill>
                <a:latin typeface="微软雅黑" panose="020B0503020204020204" pitchFamily="34" charset="-122"/>
                <a:ea typeface="微软雅黑" panose="020B0503020204020204" pitchFamily="34" charset="-122"/>
              </a:rPr>
              <a:t>121</a:t>
            </a:r>
            <a:r>
              <a:rPr kumimoji="1" lang="zh-CN" altLang="en-US" sz="1600" b="1" dirty="0">
                <a:solidFill>
                  <a:schemeClr val="accent2"/>
                </a:solidFill>
                <a:latin typeface="微软雅黑" panose="020B0503020204020204" pitchFamily="34" charset="-122"/>
                <a:ea typeface="微软雅黑" panose="020B0503020204020204" pitchFamily="34" charset="-122"/>
              </a:rPr>
              <a:t>罕见病目录中病种之一（编号</a:t>
            </a:r>
            <a:r>
              <a:rPr kumimoji="1" lang="en-US" altLang="zh-CN" sz="1600" b="1" dirty="0">
                <a:solidFill>
                  <a:schemeClr val="accent2"/>
                </a:solidFill>
                <a:latin typeface="微软雅黑" panose="020B0503020204020204" pitchFamily="34" charset="-122"/>
                <a:ea typeface="微软雅黑" panose="020B0503020204020204" pitchFamily="34" charset="-122"/>
              </a:rPr>
              <a:t>38</a:t>
            </a:r>
            <a:r>
              <a:rPr kumimoji="1" lang="zh-CN" altLang="en-US" sz="1600" b="1" dirty="0">
                <a:solidFill>
                  <a:schemeClr val="accent2"/>
                </a:solidFill>
                <a:latin typeface="微软雅黑" panose="020B0503020204020204" pitchFamily="34" charset="-122"/>
                <a:ea typeface="微软雅黑" panose="020B0503020204020204" pitchFamily="34" charset="-122"/>
              </a:rPr>
              <a:t>）</a:t>
            </a:r>
            <a:endParaRPr kumimoji="1" lang="en-US" altLang="zh-CN" sz="1600" b="1" dirty="0">
              <a:solidFill>
                <a:schemeClr val="accent2"/>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endParaRPr kumimoji="1" lang="en-US" altLang="zh-CN" sz="1200" b="1"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200" b="1" dirty="0">
                <a:solidFill>
                  <a:srgbClr val="1A1918"/>
                </a:solidFill>
                <a:latin typeface="微软雅黑" panose="020B0503020204020204" pitchFamily="34" charset="-122"/>
                <a:ea typeface="微软雅黑" panose="020B0503020204020204" pitchFamily="34" charset="-122"/>
              </a:rPr>
              <a:t>大陆地区患病率：</a:t>
            </a:r>
            <a:r>
              <a:rPr kumimoji="1" lang="zh-CN" altLang="en-US" sz="1200" dirty="0">
                <a:solidFill>
                  <a:srgbClr val="1A1918"/>
                </a:solidFill>
                <a:latin typeface="微软雅黑" panose="020B0503020204020204" pitchFamily="34" charset="-122"/>
                <a:ea typeface="微软雅黑" panose="020B0503020204020204" pitchFamily="34" charset="-122"/>
              </a:rPr>
              <a:t>约为</a:t>
            </a:r>
            <a:r>
              <a:rPr kumimoji="1" lang="en-US" altLang="zh-CN" sz="1200" dirty="0">
                <a:solidFill>
                  <a:srgbClr val="1A1918"/>
                </a:solidFill>
                <a:latin typeface="微软雅黑" panose="020B0503020204020204" pitchFamily="34" charset="-122"/>
                <a:ea typeface="微软雅黑" panose="020B0503020204020204" pitchFamily="34" charset="-122"/>
              </a:rPr>
              <a:t>1.5/100,000</a:t>
            </a:r>
            <a:r>
              <a:rPr kumimoji="1" lang="en-US" altLang="zh-CN" sz="1200" baseline="30000" dirty="0">
                <a:solidFill>
                  <a:srgbClr val="1A1918"/>
                </a:solidFill>
                <a:latin typeface="微软雅黑" panose="020B0503020204020204" pitchFamily="34" charset="-122"/>
                <a:ea typeface="微软雅黑" panose="020B0503020204020204" pitchFamily="34" charset="-122"/>
              </a:rPr>
              <a:t>1</a:t>
            </a:r>
            <a:r>
              <a:rPr kumimoji="1" lang="zh-CN" altLang="en-US" sz="1200" dirty="0">
                <a:solidFill>
                  <a:srgbClr val="1A1918"/>
                </a:solidFill>
                <a:latin typeface="微软雅黑" panose="020B0503020204020204" pitchFamily="34" charset="-122"/>
                <a:ea typeface="微软雅黑" panose="020B0503020204020204" pitchFamily="34" charset="-122"/>
              </a:rPr>
              <a:t>；目前全国范围内已确诊的患者</a:t>
            </a:r>
            <a:r>
              <a:rPr kumimoji="1" lang="zh-CN" altLang="en-US" sz="1200" b="1" dirty="0">
                <a:solidFill>
                  <a:schemeClr val="accent2"/>
                </a:solidFill>
                <a:latin typeface="微软雅黑" panose="020B0503020204020204" pitchFamily="34" charset="-122"/>
                <a:ea typeface="微软雅黑" panose="020B0503020204020204" pitchFamily="34" charset="-122"/>
              </a:rPr>
              <a:t>不到</a:t>
            </a:r>
            <a:r>
              <a:rPr kumimoji="1" lang="en-US" altLang="zh-CN" sz="1200" b="1" dirty="0">
                <a:solidFill>
                  <a:schemeClr val="accent2"/>
                </a:solidFill>
                <a:latin typeface="微软雅黑" panose="020B0503020204020204" pitchFamily="34" charset="-122"/>
                <a:ea typeface="微软雅黑" panose="020B0503020204020204" pitchFamily="34" charset="-122"/>
              </a:rPr>
              <a:t>500</a:t>
            </a:r>
            <a:r>
              <a:rPr kumimoji="1" lang="zh-CN" altLang="en-US" sz="1200" b="1" dirty="0">
                <a:solidFill>
                  <a:schemeClr val="accent2"/>
                </a:solidFill>
                <a:latin typeface="微软雅黑" panose="020B0503020204020204" pitchFamily="34" charset="-122"/>
                <a:ea typeface="微软雅黑" panose="020B0503020204020204" pitchFamily="34" charset="-122"/>
              </a:rPr>
              <a:t>人</a:t>
            </a:r>
            <a:endParaRPr kumimoji="1" lang="en-US" altLang="zh-CN" sz="1200" b="1" dirty="0">
              <a:solidFill>
                <a:schemeClr val="accent2"/>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r>
              <a:rPr kumimoji="1" lang="zh-CN" altLang="en-US" sz="1200" b="1" dirty="0">
                <a:solidFill>
                  <a:schemeClr val="accent2"/>
                </a:solidFill>
                <a:latin typeface="微软雅黑" panose="020B0503020204020204" pitchFamily="34" charset="-122"/>
                <a:ea typeface="微软雅黑" panose="020B0503020204020204" pitchFamily="34" charset="-122"/>
              </a:rPr>
              <a:t>疾病负担</a:t>
            </a:r>
            <a:r>
              <a:rPr kumimoji="1" lang="zh-CN" altLang="en-US" sz="1200" b="1" dirty="0">
                <a:solidFill>
                  <a:srgbClr val="1A1918"/>
                </a:solidFill>
                <a:latin typeface="微软雅黑" panose="020B0503020204020204" pitchFamily="34" charset="-122"/>
                <a:ea typeface="微软雅黑" panose="020B0503020204020204" pitchFamily="34" charset="-122"/>
              </a:rPr>
              <a:t>：</a:t>
            </a:r>
            <a:r>
              <a:rPr kumimoji="1" lang="en-US" altLang="zh-CN" sz="1200" dirty="0">
                <a:solidFill>
                  <a:srgbClr val="1A1918"/>
                </a:solidFill>
                <a:latin typeface="微软雅黑" panose="020B0503020204020204" pitchFamily="34" charset="-122"/>
                <a:ea typeface="微软雅黑" panose="020B0503020204020204" pitchFamily="34" charset="-122"/>
              </a:rPr>
              <a:t>HAE</a:t>
            </a:r>
            <a:r>
              <a:rPr kumimoji="1" lang="zh-CN" altLang="en-US" sz="1200" dirty="0">
                <a:solidFill>
                  <a:srgbClr val="1A1918"/>
                </a:solidFill>
                <a:latin typeface="微软雅黑" panose="020B0503020204020204" pitchFamily="34" charset="-122"/>
                <a:ea typeface="微软雅黑" panose="020B0503020204020204" pitchFamily="34" charset="-122"/>
              </a:rPr>
              <a:t>患者会发生</a:t>
            </a:r>
            <a:r>
              <a:rPr kumimoji="1" lang="zh-CN" altLang="en-US" sz="1200" b="1" dirty="0">
                <a:solidFill>
                  <a:schemeClr val="accent2"/>
                </a:solidFill>
                <a:latin typeface="微软雅黑" panose="020B0503020204020204" pitchFamily="34" charset="-122"/>
                <a:ea typeface="微软雅黑" panose="020B0503020204020204" pitchFamily="34" charset="-122"/>
              </a:rPr>
              <a:t>反复、不可预测的急性水肿发作</a:t>
            </a:r>
            <a:r>
              <a:rPr kumimoji="1" lang="zh-CN" altLang="en-US" sz="1200" dirty="0">
                <a:solidFill>
                  <a:srgbClr val="1A1918"/>
                </a:solidFill>
                <a:latin typeface="微软雅黑" panose="020B0503020204020204" pitchFamily="34" charset="-122"/>
                <a:ea typeface="微软雅黑" panose="020B0503020204020204" pitchFamily="34" charset="-122"/>
              </a:rPr>
              <a:t>，发作频率、部位和时间无法预测</a:t>
            </a:r>
            <a:endParaRPr kumimoji="1" lang="en-US" altLang="zh-CN" sz="1200" dirty="0">
              <a:solidFill>
                <a:srgbClr val="1A1918"/>
              </a:solidFill>
              <a:latin typeface="微软雅黑" panose="020B0503020204020204" pitchFamily="34" charset="-122"/>
              <a:ea typeface="微软雅黑" panose="020B0503020204020204" pitchFamily="34" charset="-122"/>
            </a:endParaRPr>
          </a:p>
          <a:p>
            <a:pPr marL="628650" lvl="1" indent="-171450">
              <a:lnSpc>
                <a:spcPct val="150000"/>
              </a:lnSpc>
              <a:buFont typeface="Arial" panose="020B0604020202020204" pitchFamily="34" charset="0"/>
              <a:buChar char="•"/>
            </a:pPr>
            <a:r>
              <a:rPr kumimoji="1" lang="zh-CN" altLang="en-US" sz="1200" b="1" dirty="0">
                <a:solidFill>
                  <a:srgbClr val="1A1918"/>
                </a:solidFill>
                <a:latin typeface="微软雅黑" panose="020B0503020204020204" pitchFamily="34" charset="-122"/>
                <a:ea typeface="微软雅黑" panose="020B0503020204020204" pitchFamily="34" charset="-122"/>
              </a:rPr>
              <a:t>喉部水肿</a:t>
            </a:r>
            <a:r>
              <a:rPr kumimoji="1" lang="en-US" altLang="zh-CN" sz="1200" baseline="30000" dirty="0">
                <a:solidFill>
                  <a:srgbClr val="1A1918"/>
                </a:solidFill>
                <a:latin typeface="微软雅黑" panose="020B0503020204020204" pitchFamily="34" charset="-122"/>
                <a:ea typeface="微软雅黑" panose="020B0503020204020204" pitchFamily="34" charset="-122"/>
              </a:rPr>
              <a:t>1</a:t>
            </a:r>
            <a:r>
              <a:rPr kumimoji="1" lang="zh-CN" altLang="en-US" sz="1200" dirty="0">
                <a:solidFill>
                  <a:srgbClr val="1A1918"/>
                </a:solidFill>
                <a:latin typeface="微软雅黑" panose="020B0503020204020204" pitchFamily="34" charset="-122"/>
                <a:ea typeface="微软雅黑" panose="020B0503020204020204" pitchFamily="34" charset="-122"/>
              </a:rPr>
              <a:t>：可迅速进展导致患者</a:t>
            </a:r>
            <a:r>
              <a:rPr kumimoji="1" lang="zh-CN" altLang="en-US" sz="1200" b="1" dirty="0">
                <a:solidFill>
                  <a:schemeClr val="accent2"/>
                </a:solidFill>
                <a:latin typeface="微软雅黑" panose="020B0503020204020204" pitchFamily="34" charset="-122"/>
                <a:ea typeface="微软雅黑" panose="020B0503020204020204" pitchFamily="34" charset="-122"/>
              </a:rPr>
              <a:t>呼吸困难或窒息，危及生命</a:t>
            </a:r>
            <a:r>
              <a:rPr kumimoji="1" lang="zh-CN" altLang="en-US" sz="1200" dirty="0">
                <a:solidFill>
                  <a:srgbClr val="1A1918"/>
                </a:solidFill>
                <a:latin typeface="微软雅黑" panose="020B0503020204020204" pitchFamily="34" charset="-122"/>
                <a:ea typeface="微软雅黑" panose="020B0503020204020204" pitchFamily="34" charset="-122"/>
              </a:rPr>
              <a:t>。</a:t>
            </a:r>
            <a:r>
              <a:rPr kumimoji="1" lang="zh-CN" altLang="en-US" sz="1200" b="1" dirty="0">
                <a:solidFill>
                  <a:schemeClr val="accent2"/>
                </a:solidFill>
                <a:latin typeface="微软雅黑" panose="020B0503020204020204" pitchFamily="34" charset="-122"/>
                <a:ea typeface="微软雅黑" panose="020B0503020204020204" pitchFamily="34" charset="-122"/>
              </a:rPr>
              <a:t>致死率高达</a:t>
            </a:r>
            <a:r>
              <a:rPr kumimoji="1" lang="en-US" altLang="zh-CN" sz="1200" b="1" dirty="0">
                <a:solidFill>
                  <a:schemeClr val="accent2"/>
                </a:solidFill>
                <a:latin typeface="微软雅黑" panose="020B0503020204020204" pitchFamily="34" charset="-122"/>
                <a:ea typeface="微软雅黑" panose="020B0503020204020204" pitchFamily="34" charset="-122"/>
              </a:rPr>
              <a:t>11%~40%</a:t>
            </a:r>
            <a:r>
              <a:rPr kumimoji="1" lang="zh-CN" altLang="en-US" sz="1200" dirty="0">
                <a:solidFill>
                  <a:srgbClr val="1A1918"/>
                </a:solidFill>
                <a:latin typeface="微软雅黑" panose="020B0503020204020204" pitchFamily="34" charset="-122"/>
                <a:ea typeface="微软雅黑" panose="020B0503020204020204" pitchFamily="34" charset="-122"/>
              </a:rPr>
              <a:t>，中国</a:t>
            </a:r>
            <a:r>
              <a:rPr kumimoji="1" lang="en-US" altLang="zh-CN" sz="1200" dirty="0">
                <a:solidFill>
                  <a:srgbClr val="1A1918"/>
                </a:solidFill>
                <a:latin typeface="微软雅黑" panose="020B0503020204020204" pitchFamily="34" charset="-122"/>
                <a:ea typeface="微软雅黑" panose="020B0503020204020204" pitchFamily="34" charset="-122"/>
              </a:rPr>
              <a:t>HAE</a:t>
            </a:r>
            <a:r>
              <a:rPr kumimoji="1" lang="zh-CN" altLang="en-US" sz="1200" dirty="0">
                <a:solidFill>
                  <a:srgbClr val="1A1918"/>
                </a:solidFill>
                <a:latin typeface="微软雅黑" panose="020B0503020204020204" pitchFamily="34" charset="-122"/>
                <a:ea typeface="微软雅黑" panose="020B0503020204020204" pitchFamily="34" charset="-122"/>
              </a:rPr>
              <a:t>患者中有近</a:t>
            </a:r>
            <a:r>
              <a:rPr kumimoji="1" lang="en-US" altLang="zh-CN" sz="1200" dirty="0">
                <a:solidFill>
                  <a:srgbClr val="1A1918"/>
                </a:solidFill>
                <a:latin typeface="微软雅黑" panose="020B0503020204020204" pitchFamily="34" charset="-122"/>
                <a:ea typeface="微软雅黑" panose="020B0503020204020204" pitchFamily="34" charset="-122"/>
              </a:rPr>
              <a:t>60%</a:t>
            </a:r>
            <a:r>
              <a:rPr kumimoji="1" lang="zh-CN" altLang="en-US" sz="1200" dirty="0">
                <a:solidFill>
                  <a:srgbClr val="1A1918"/>
                </a:solidFill>
                <a:latin typeface="微软雅黑" panose="020B0503020204020204" pitchFamily="34" charset="-122"/>
                <a:ea typeface="微软雅黑" panose="020B0503020204020204" pitchFamily="34" charset="-122"/>
              </a:rPr>
              <a:t>发生过喉部水肿</a:t>
            </a:r>
            <a:endParaRPr kumimoji="1" lang="en-US" altLang="zh-CN" sz="1200" dirty="0">
              <a:solidFill>
                <a:srgbClr val="1A1918"/>
              </a:solidFill>
              <a:latin typeface="微软雅黑" panose="020B0503020204020204" pitchFamily="34" charset="-122"/>
              <a:ea typeface="微软雅黑" panose="020B0503020204020204" pitchFamily="34" charset="-122"/>
            </a:endParaRPr>
          </a:p>
          <a:p>
            <a:pPr marL="628650" lvl="1" indent="-171450">
              <a:lnSpc>
                <a:spcPct val="150000"/>
              </a:lnSpc>
              <a:buFont typeface="Arial" panose="020B0604020202020204" pitchFamily="34" charset="0"/>
              <a:buChar char="•"/>
            </a:pPr>
            <a:r>
              <a:rPr kumimoji="1" lang="zh-CN" altLang="en-US" sz="1200" b="1" dirty="0">
                <a:solidFill>
                  <a:srgbClr val="1A1918"/>
                </a:solidFill>
                <a:latin typeface="微软雅黑" panose="020B0503020204020204" pitchFamily="34" charset="-122"/>
                <a:ea typeface="微软雅黑" panose="020B0503020204020204" pitchFamily="34" charset="-122"/>
              </a:rPr>
              <a:t>胃肠道黏膜水肿发作</a:t>
            </a:r>
            <a:r>
              <a:rPr kumimoji="1" lang="en-US" altLang="zh-CN" sz="1200" baseline="30000" dirty="0">
                <a:solidFill>
                  <a:srgbClr val="1A1918"/>
                </a:solidFill>
                <a:latin typeface="微软雅黑" panose="020B0503020204020204" pitchFamily="34" charset="-122"/>
                <a:ea typeface="微软雅黑" panose="020B0503020204020204" pitchFamily="34" charset="-122"/>
              </a:rPr>
              <a:t>1</a:t>
            </a:r>
            <a:r>
              <a:rPr kumimoji="1" lang="zh-CN" altLang="en-US" sz="1200" dirty="0">
                <a:solidFill>
                  <a:srgbClr val="1A1918"/>
                </a:solidFill>
                <a:latin typeface="微软雅黑" panose="020B0503020204020204" pitchFamily="34" charset="-122"/>
                <a:ea typeface="微软雅黑" panose="020B0503020204020204" pitchFamily="34" charset="-122"/>
              </a:rPr>
              <a:t>：患者表现为剧烈腹痛，伴恶心、呕吐，因此常被误诊为急腹症，</a:t>
            </a:r>
            <a:r>
              <a:rPr kumimoji="1" lang="zh-CN" altLang="en-US" sz="1200" b="1" dirty="0">
                <a:solidFill>
                  <a:srgbClr val="1A1918"/>
                </a:solidFill>
                <a:latin typeface="微软雅黑" panose="020B0503020204020204" pitchFamily="34" charset="-122"/>
                <a:ea typeface="微软雅黑" panose="020B0503020204020204" pitchFamily="34" charset="-122"/>
              </a:rPr>
              <a:t>导致不必要的腹部手术</a:t>
            </a:r>
          </a:p>
          <a:p>
            <a:pPr marL="171450" indent="-171450">
              <a:lnSpc>
                <a:spcPct val="150000"/>
              </a:lnSpc>
              <a:buFont typeface="Arial" panose="020B0604020202020204" pitchFamily="34" charset="0"/>
              <a:buChar char="•"/>
            </a:pPr>
            <a:endParaRPr kumimoji="1" lang="en-US" altLang="zh-CN" sz="12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endParaRPr kumimoji="1" lang="en-US" altLang="zh-CN" sz="12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endParaRPr kumimoji="1" lang="en-US" altLang="zh-CN" sz="12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endParaRPr kumimoji="1" lang="en-US" altLang="zh-CN" sz="12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endParaRPr kumimoji="1" lang="en-US" altLang="zh-CN" sz="1200" dirty="0">
              <a:solidFill>
                <a:srgbClr val="1A1918"/>
              </a:solidFill>
              <a:latin typeface="微软雅黑" panose="020B0503020204020204" pitchFamily="34" charset="-122"/>
              <a:ea typeface="微软雅黑" panose="020B0503020204020204" pitchFamily="34" charset="-122"/>
            </a:endParaRPr>
          </a:p>
          <a:p>
            <a:pPr marL="171450" indent="-171450">
              <a:lnSpc>
                <a:spcPct val="150000"/>
              </a:lnSpc>
              <a:buFont typeface="Arial" panose="020B0604020202020204" pitchFamily="34" charset="0"/>
              <a:buChar char="•"/>
            </a:pPr>
            <a:endParaRPr kumimoji="1" lang="en-US" altLang="zh-CN" sz="1200" dirty="0">
              <a:solidFill>
                <a:srgbClr val="1A1918"/>
              </a:solidFill>
              <a:latin typeface="微软雅黑" panose="020B0503020204020204" pitchFamily="34" charset="-122"/>
              <a:ea typeface="微软雅黑" panose="020B0503020204020204" pitchFamily="34" charset="-122"/>
            </a:endParaRPr>
          </a:p>
        </p:txBody>
      </p:sp>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a:xfrm>
            <a:off x="1038225" y="209230"/>
            <a:ext cx="9508106" cy="685801"/>
          </a:xfrm>
        </p:spPr>
        <p:txBody>
          <a:bodyPr>
            <a:normAutofit/>
          </a:bodyPr>
          <a:lstStyle/>
          <a:p>
            <a:r>
              <a:rPr lang="zh-CN" altLang="en-US" sz="3200">
                <a:solidFill>
                  <a:srgbClr val="1A1918"/>
                </a:solidFill>
                <a:latin typeface="微软雅黑" panose="020B0503020204020204" pitchFamily="34" charset="-122"/>
                <a:ea typeface="微软雅黑" panose="020B0503020204020204" pitchFamily="34" charset="-122"/>
              </a:rPr>
              <a:t>药品基本信息</a:t>
            </a:r>
            <a:endParaRPr lang="en-JP" sz="3200">
              <a:solidFill>
                <a:srgbClr val="1A1918"/>
              </a:solidFill>
              <a:latin typeface="微软雅黑" panose="020B0503020204020204" pitchFamily="34" charset="-122"/>
              <a:ea typeface="微软雅黑" panose="020B0503020204020204" pitchFamily="34" charset="-122"/>
            </a:endParaRPr>
          </a:p>
        </p:txBody>
      </p:sp>
      <p:sp>
        <p:nvSpPr>
          <p:cNvPr id="22" name="椭圆 21">
            <a:extLst>
              <a:ext uri="{FF2B5EF4-FFF2-40B4-BE49-F238E27FC236}">
                <a16:creationId xmlns:a16="http://schemas.microsoft.com/office/drawing/2014/main" id="{5F530736-32AD-42C7-B3FC-79FE10B74A3A}"/>
              </a:ext>
            </a:extLst>
          </p:cNvPr>
          <p:cNvSpPr/>
          <p:nvPr/>
        </p:nvSpPr>
        <p:spPr>
          <a:xfrm>
            <a:off x="616186" y="315174"/>
            <a:ext cx="360000" cy="360000"/>
          </a:xfrm>
          <a:prstGeom prst="ellipse">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a:solidFill>
                  <a:schemeClr val="bg1"/>
                </a:solidFill>
                <a:latin typeface="微软雅黑" panose="020B0503020204020204" pitchFamily="34" charset="-122"/>
                <a:ea typeface="微软雅黑" panose="020B0503020204020204" pitchFamily="34" charset="-122"/>
              </a:rPr>
              <a:t>1</a:t>
            </a:r>
            <a:endParaRPr kumimoji="1" lang="zh-CN" altLang="en-US" sz="1600" b="1">
              <a:solidFill>
                <a:schemeClr val="bg1"/>
              </a:solidFill>
              <a:latin typeface="微软雅黑" panose="020B0503020204020204" pitchFamily="34" charset="-122"/>
              <a:ea typeface="微软雅黑" panose="020B0503020204020204" pitchFamily="34" charset="-122"/>
            </a:endParaRPr>
          </a:p>
        </p:txBody>
      </p:sp>
      <p:sp>
        <p:nvSpPr>
          <p:cNvPr id="27" name="矩形: 圆角 26">
            <a:extLst>
              <a:ext uri="{FF2B5EF4-FFF2-40B4-BE49-F238E27FC236}">
                <a16:creationId xmlns:a16="http://schemas.microsoft.com/office/drawing/2014/main" id="{B7DB02E4-8157-467C-B23B-EC61BCDEFB55}"/>
              </a:ext>
            </a:extLst>
          </p:cNvPr>
          <p:cNvSpPr/>
          <p:nvPr/>
        </p:nvSpPr>
        <p:spPr>
          <a:xfrm>
            <a:off x="579773" y="1882902"/>
            <a:ext cx="5310000" cy="4533773"/>
          </a:xfrm>
          <a:prstGeom prst="roundRect">
            <a:avLst>
              <a:gd name="adj" fmla="val 0"/>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28" name="矩形 27">
            <a:extLst>
              <a:ext uri="{FF2B5EF4-FFF2-40B4-BE49-F238E27FC236}">
                <a16:creationId xmlns:a16="http://schemas.microsoft.com/office/drawing/2014/main" id="{BC7D4A06-3BFE-4551-AE94-2DDC13F3250A}"/>
              </a:ext>
            </a:extLst>
          </p:cNvPr>
          <p:cNvSpPr/>
          <p:nvPr/>
        </p:nvSpPr>
        <p:spPr>
          <a:xfrm>
            <a:off x="579773" y="1517473"/>
            <a:ext cx="5310000" cy="366433"/>
          </a:xfrm>
          <a:prstGeom prst="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HAE</a:t>
            </a:r>
            <a:r>
              <a:rPr kumimoji="1" lang="zh-CN" altLang="en-US" sz="1600" b="1" dirty="0">
                <a:solidFill>
                  <a:schemeClr val="bg1"/>
                </a:solidFill>
                <a:latin typeface="微软雅黑" panose="020B0503020204020204" pitchFamily="34" charset="-122"/>
                <a:ea typeface="微软雅黑" panose="020B0503020204020204" pitchFamily="34" charset="-122"/>
              </a:rPr>
              <a:t>是严重发作可致死的罕见病</a:t>
            </a:r>
          </a:p>
        </p:txBody>
      </p:sp>
      <p:sp>
        <p:nvSpPr>
          <p:cNvPr id="29" name="文本框 28">
            <a:extLst>
              <a:ext uri="{FF2B5EF4-FFF2-40B4-BE49-F238E27FC236}">
                <a16:creationId xmlns:a16="http://schemas.microsoft.com/office/drawing/2014/main" id="{B14FBE48-CC4C-48BD-A2BA-E12AAD7705C0}"/>
              </a:ext>
            </a:extLst>
          </p:cNvPr>
          <p:cNvSpPr txBox="1"/>
          <p:nvPr/>
        </p:nvSpPr>
        <p:spPr>
          <a:xfrm>
            <a:off x="579773" y="6483798"/>
            <a:ext cx="11312189" cy="553998"/>
          </a:xfrm>
          <a:prstGeom prst="rect">
            <a:avLst/>
          </a:prstGeom>
          <a:noFill/>
        </p:spPr>
        <p:txBody>
          <a:bodyPr wrap="square">
            <a:spAutoFit/>
          </a:bodyPr>
          <a:lstStyle/>
          <a:p>
            <a:r>
              <a:rPr kumimoji="1" lang="zh-CN" altLang="en-US" sz="1000">
                <a:solidFill>
                  <a:srgbClr val="1A1918"/>
                </a:solidFill>
                <a:latin typeface="微软雅黑" panose="020B0503020204020204" pitchFamily="34" charset="-122"/>
                <a:ea typeface="微软雅黑" panose="020B0503020204020204" pitchFamily="34" charset="-122"/>
              </a:rPr>
              <a:t>参考文献：</a:t>
            </a:r>
            <a:r>
              <a:rPr kumimoji="1" lang="en-US" altLang="zh-CN" sz="1000">
                <a:solidFill>
                  <a:srgbClr val="1A1918"/>
                </a:solidFill>
                <a:latin typeface="微软雅黑" panose="020B0503020204020204" pitchFamily="34" charset="-122"/>
                <a:ea typeface="微软雅黑" panose="020B0503020204020204" pitchFamily="34" charset="-122"/>
              </a:rPr>
              <a:t>1. 《</a:t>
            </a:r>
            <a:r>
              <a:rPr lang="zh-CN" altLang="en-US" sz="1000" b="0" i="0">
                <a:solidFill>
                  <a:srgbClr val="333333"/>
                </a:solidFill>
                <a:effectLst/>
                <a:latin typeface="Microsoft yahei" panose="020B0503020204020204" pitchFamily="34" charset="-122"/>
                <a:ea typeface="Microsoft yahei" panose="020B0503020204020204" pitchFamily="34" charset="-122"/>
              </a:rPr>
              <a:t>遗传性血管性水肿的诊断和治疗专家共识</a:t>
            </a:r>
            <a:r>
              <a:rPr lang="en-US" altLang="zh-CN" sz="1000" b="0" i="0">
                <a:solidFill>
                  <a:srgbClr val="333333"/>
                </a:solidFill>
                <a:effectLst/>
                <a:latin typeface="Microsoft yahei" panose="020B0503020204020204" pitchFamily="34" charset="-122"/>
                <a:ea typeface="Microsoft yahei" panose="020B0503020204020204" pitchFamily="34" charset="-122"/>
              </a:rPr>
              <a:t>》</a:t>
            </a:r>
            <a:r>
              <a:rPr lang="zh-CN" altLang="en-US" sz="1000" b="0" i="0">
                <a:solidFill>
                  <a:srgbClr val="333333"/>
                </a:solidFill>
                <a:effectLst/>
                <a:latin typeface="Microsoft yahei" panose="020B0503020204020204" pitchFamily="34" charset="-122"/>
                <a:ea typeface="Microsoft yahei" panose="020B0503020204020204" pitchFamily="34" charset="-122"/>
              </a:rPr>
              <a:t>；</a:t>
            </a:r>
            <a:r>
              <a:rPr lang="en-US" altLang="zh-CN" sz="1000">
                <a:solidFill>
                  <a:srgbClr val="333333"/>
                </a:solidFill>
                <a:latin typeface="Microsoft yahei" panose="020B0503020204020204" pitchFamily="34" charset="-122"/>
                <a:ea typeface="Microsoft yahei" panose="020B0503020204020204" pitchFamily="34" charset="-122"/>
              </a:rPr>
              <a:t>2.</a:t>
            </a:r>
            <a:r>
              <a:rPr lang="zh-CN" altLang="en-US" sz="1000">
                <a:solidFill>
                  <a:srgbClr val="333333"/>
                </a:solidFill>
                <a:latin typeface="Microsoft yahei" panose="020B0503020204020204" pitchFamily="34" charset="-122"/>
                <a:ea typeface="Microsoft yahei" panose="020B0503020204020204" pitchFamily="34" charset="-122"/>
              </a:rPr>
              <a:t> </a:t>
            </a:r>
            <a:r>
              <a:rPr lang="en-US" altLang="zh-CN" sz="1000">
                <a:solidFill>
                  <a:srgbClr val="333333"/>
                </a:solidFill>
                <a:latin typeface="Microsoft yahei" panose="020B0503020204020204" pitchFamily="34" charset="-122"/>
                <a:ea typeface="Microsoft yahei" panose="020B0503020204020204" pitchFamily="34" charset="-122"/>
              </a:rPr>
              <a:t>133</a:t>
            </a:r>
            <a:r>
              <a:rPr lang="zh-CN" altLang="en-US" sz="1000">
                <a:solidFill>
                  <a:srgbClr val="333333"/>
                </a:solidFill>
                <a:latin typeface="Microsoft yahei" panose="020B0503020204020204" pitchFamily="34" charset="-122"/>
                <a:ea typeface="Microsoft yahei" panose="020B0503020204020204" pitchFamily="34" charset="-122"/>
              </a:rPr>
              <a:t>例遗传性血管性水肿患者的临床分析</a:t>
            </a:r>
            <a:r>
              <a:rPr lang="en-US" altLang="zh-CN" sz="1000">
                <a:solidFill>
                  <a:srgbClr val="333333"/>
                </a:solidFill>
                <a:latin typeface="Microsoft yahei" panose="020B0503020204020204" pitchFamily="34" charset="-122"/>
                <a:ea typeface="Microsoft yahei" panose="020B0503020204020204" pitchFamily="34" charset="-122"/>
              </a:rPr>
              <a:t>[J].</a:t>
            </a:r>
            <a:r>
              <a:rPr lang="zh-CN" altLang="en-US" sz="1000">
                <a:solidFill>
                  <a:srgbClr val="333333"/>
                </a:solidFill>
                <a:latin typeface="Microsoft yahei" panose="020B0503020204020204" pitchFamily="34" charset="-122"/>
                <a:ea typeface="Microsoft yahei" panose="020B0503020204020204" pitchFamily="34" charset="-122"/>
              </a:rPr>
              <a:t>中华医学杂志</a:t>
            </a:r>
            <a:r>
              <a:rPr lang="en-US" altLang="zh-CN" sz="1000">
                <a:solidFill>
                  <a:srgbClr val="333333"/>
                </a:solidFill>
                <a:latin typeface="Microsoft yahei" panose="020B0503020204020204" pitchFamily="34" charset="-122"/>
                <a:ea typeface="Microsoft yahei" panose="020B0503020204020204" pitchFamily="34" charset="-122"/>
              </a:rPr>
              <a:t>,2007,87(39):2772-2776.; 3</a:t>
            </a:r>
            <a:r>
              <a:rPr kumimoji="1" lang="en-US" altLang="zh-CN" sz="1000">
                <a:solidFill>
                  <a:srgbClr val="1A1918"/>
                </a:solidFill>
                <a:latin typeface="微软雅黑" panose="020B0503020204020204" pitchFamily="34" charset="-122"/>
                <a:ea typeface="微软雅黑" panose="020B0503020204020204" pitchFamily="34" charset="-122"/>
              </a:rPr>
              <a:t>. Liu S, et al. </a:t>
            </a:r>
            <a:r>
              <a:rPr kumimoji="1" lang="en-US" altLang="zh-CN" sz="1000" err="1">
                <a:solidFill>
                  <a:srgbClr val="1A1918"/>
                </a:solidFill>
                <a:latin typeface="微软雅黑" panose="020B0503020204020204" pitchFamily="34" charset="-122"/>
                <a:ea typeface="微软雅黑" panose="020B0503020204020204" pitchFamily="34" charset="-122"/>
              </a:rPr>
              <a:t>Orphane</a:t>
            </a:r>
            <a:r>
              <a:rPr kumimoji="1" lang="en-US" altLang="zh-CN" sz="1000">
                <a:solidFill>
                  <a:srgbClr val="1A1918"/>
                </a:solidFill>
                <a:latin typeface="微软雅黑" panose="020B0503020204020204" pitchFamily="34" charset="-122"/>
                <a:ea typeface="微软雅黑" panose="020B0503020204020204" pitchFamily="34" charset="-122"/>
              </a:rPr>
              <a:t>  J Rare Dis. 2019, 14(1):191.</a:t>
            </a:r>
            <a:r>
              <a:rPr kumimoji="1" lang="zh-CN" altLang="en-US" sz="1000">
                <a:solidFill>
                  <a:srgbClr val="1A1918"/>
                </a:solidFill>
                <a:latin typeface="微软雅黑" panose="020B0503020204020204" pitchFamily="34" charset="-122"/>
                <a:ea typeface="微软雅黑" panose="020B0503020204020204" pitchFamily="34" charset="-122"/>
              </a:rPr>
              <a:t>；</a:t>
            </a:r>
            <a:r>
              <a:rPr kumimoji="1" lang="en-US" altLang="zh-CN" sz="1000">
                <a:solidFill>
                  <a:srgbClr val="1A1918"/>
                </a:solidFill>
                <a:latin typeface="微软雅黑" panose="020B0503020204020204" pitchFamily="34" charset="-122"/>
                <a:ea typeface="微软雅黑" panose="020B0503020204020204" pitchFamily="34" charset="-122"/>
              </a:rPr>
              <a:t>4. </a:t>
            </a:r>
            <a:r>
              <a:rPr kumimoji="1" lang="fr-FR" altLang="zh-CN" sz="1000">
                <a:solidFill>
                  <a:srgbClr val="1A1918"/>
                </a:solidFill>
                <a:latin typeface="微软雅黑" panose="020B0503020204020204" pitchFamily="34" charset="-122"/>
                <a:ea typeface="微软雅黑" panose="020B0503020204020204" pitchFamily="34" charset="-122"/>
              </a:rPr>
              <a:t>Cao Y, et al. </a:t>
            </a:r>
            <a:r>
              <a:rPr kumimoji="1" lang="fr-FR" altLang="zh-CN" sz="1000" err="1">
                <a:solidFill>
                  <a:srgbClr val="1A1918"/>
                </a:solidFill>
                <a:latin typeface="微软雅黑" panose="020B0503020204020204" pitchFamily="34" charset="-122"/>
                <a:ea typeface="微软雅黑" panose="020B0503020204020204" pitchFamily="34" charset="-122"/>
              </a:rPr>
              <a:t>Orphanet</a:t>
            </a:r>
            <a:r>
              <a:rPr kumimoji="1" lang="fr-FR" altLang="zh-CN" sz="1000">
                <a:solidFill>
                  <a:srgbClr val="1A1918"/>
                </a:solidFill>
                <a:latin typeface="微软雅黑" panose="020B0503020204020204" pitchFamily="34" charset="-122"/>
                <a:ea typeface="微软雅黑" panose="020B0503020204020204" pitchFamily="34" charset="-122"/>
              </a:rPr>
              <a:t> J Rare Dis . 2020 Sep 22;15(1):257.</a:t>
            </a:r>
            <a:r>
              <a:rPr kumimoji="1" lang="zh-CN" altLang="en-US" sz="1000">
                <a:solidFill>
                  <a:srgbClr val="1A1918"/>
                </a:solidFill>
                <a:latin typeface="微软雅黑" panose="020B0503020204020204" pitchFamily="34" charset="-122"/>
                <a:ea typeface="微软雅黑" panose="020B0503020204020204" pitchFamily="34" charset="-122"/>
              </a:rPr>
              <a:t>；</a:t>
            </a:r>
            <a:r>
              <a:rPr kumimoji="1" lang="en-US" altLang="zh-CN" sz="1000">
                <a:solidFill>
                  <a:srgbClr val="1A1918"/>
                </a:solidFill>
                <a:latin typeface="微软雅黑" panose="020B0503020204020204" pitchFamily="34" charset="-122"/>
                <a:ea typeface="微软雅黑" panose="020B0503020204020204" pitchFamily="34" charset="-122"/>
              </a:rPr>
              <a:t>5. Xu YY, et al. Ann Allergy Asthma Immunol. 2014, 112(6):539-544.</a:t>
            </a:r>
            <a:endParaRPr lang="en-US" altLang="zh-CN" sz="1000">
              <a:solidFill>
                <a:srgbClr val="333333"/>
              </a:solidFill>
              <a:latin typeface="Microsoft yahei" panose="020B0503020204020204" pitchFamily="34" charset="-122"/>
              <a:ea typeface="Microsoft yahei" panose="020B0503020204020204" pitchFamily="34" charset="-122"/>
            </a:endParaRPr>
          </a:p>
          <a:p>
            <a:endParaRPr lang="zh-CN" altLang="en-US" sz="1000"/>
          </a:p>
        </p:txBody>
      </p:sp>
      <p:sp>
        <p:nvSpPr>
          <p:cNvPr id="13" name="矩形: 圆角 12">
            <a:extLst>
              <a:ext uri="{FF2B5EF4-FFF2-40B4-BE49-F238E27FC236}">
                <a16:creationId xmlns:a16="http://schemas.microsoft.com/office/drawing/2014/main" id="{B4418AEE-1ABD-49BC-A820-CD583E24CE2C}"/>
              </a:ext>
            </a:extLst>
          </p:cNvPr>
          <p:cNvSpPr/>
          <p:nvPr/>
        </p:nvSpPr>
        <p:spPr>
          <a:xfrm>
            <a:off x="6370939" y="1882902"/>
            <a:ext cx="5308948" cy="4533773"/>
          </a:xfrm>
          <a:prstGeom prst="roundRect">
            <a:avLst>
              <a:gd name="adj" fmla="val 0"/>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15" name="矩形 14">
            <a:extLst>
              <a:ext uri="{FF2B5EF4-FFF2-40B4-BE49-F238E27FC236}">
                <a16:creationId xmlns:a16="http://schemas.microsoft.com/office/drawing/2014/main" id="{7BB27FCA-474A-4FCB-8710-840F562412BA}"/>
              </a:ext>
            </a:extLst>
          </p:cNvPr>
          <p:cNvSpPr/>
          <p:nvPr/>
        </p:nvSpPr>
        <p:spPr>
          <a:xfrm>
            <a:off x="6371373" y="1517473"/>
            <a:ext cx="5308514" cy="366433"/>
          </a:xfrm>
          <a:prstGeom prst="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HAE</a:t>
            </a:r>
            <a:r>
              <a:rPr kumimoji="1" lang="zh-CN" altLang="en-US" sz="1600" b="1" dirty="0">
                <a:solidFill>
                  <a:schemeClr val="bg1"/>
                </a:solidFill>
                <a:latin typeface="微软雅黑" panose="020B0503020204020204" pitchFamily="34" charset="-122"/>
                <a:ea typeface="微软雅黑" panose="020B0503020204020204" pitchFamily="34" charset="-122"/>
              </a:rPr>
              <a:t>发作频率高，发病严重，喉部发作致死率最高达</a:t>
            </a:r>
            <a:r>
              <a:rPr kumimoji="1" lang="en-US" altLang="zh-CN" sz="1600" b="1" dirty="0">
                <a:solidFill>
                  <a:schemeClr val="bg1"/>
                </a:solidFill>
                <a:latin typeface="微软雅黑" panose="020B0503020204020204" pitchFamily="34" charset="-122"/>
                <a:ea typeface="微软雅黑" panose="020B0503020204020204" pitchFamily="34" charset="-122"/>
              </a:rPr>
              <a:t>40%</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40" name="Text Placeholder 5">
            <a:extLst>
              <a:ext uri="{FF2B5EF4-FFF2-40B4-BE49-F238E27FC236}">
                <a16:creationId xmlns:a16="http://schemas.microsoft.com/office/drawing/2014/main" id="{C92E4F54-C53F-4346-85F1-FDA8CEEF8852}"/>
              </a:ext>
            </a:extLst>
          </p:cNvPr>
          <p:cNvSpPr txBox="1">
            <a:spLocks/>
          </p:cNvSpPr>
          <p:nvPr/>
        </p:nvSpPr>
        <p:spPr>
          <a:xfrm>
            <a:off x="1038224" y="817217"/>
            <a:ext cx="10991851" cy="263075"/>
          </a:xfrm>
          <a:prstGeom prst="rect">
            <a:avLst/>
          </a:prstGeom>
        </p:spPr>
        <p:txBody>
          <a:bodyP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zh-CN" sz="1800" b="1" dirty="0">
                <a:solidFill>
                  <a:srgbClr val="1A1918"/>
                </a:solidFill>
                <a:latin typeface="微软雅黑" panose="020B0503020204020204" pitchFamily="34" charset="-122"/>
                <a:ea typeface="微软雅黑" panose="020B0503020204020204" pitchFamily="34" charset="-122"/>
              </a:rPr>
              <a:t>——</a:t>
            </a:r>
            <a:r>
              <a:rPr lang="zh-CN" altLang="en-US" sz="1800" b="1" dirty="0">
                <a:solidFill>
                  <a:srgbClr val="1A1918"/>
                </a:solidFill>
                <a:latin typeface="微软雅黑" panose="020B0503020204020204" pitchFamily="34" charset="-122"/>
                <a:ea typeface="微软雅黑" panose="020B0503020204020204" pitchFamily="34" charset="-122"/>
              </a:rPr>
              <a:t>遗传性血管性水肿（</a:t>
            </a:r>
            <a:r>
              <a:rPr lang="en-US" altLang="zh-CN" sz="1800" b="1" dirty="0">
                <a:solidFill>
                  <a:srgbClr val="1A1918"/>
                </a:solidFill>
                <a:latin typeface="微软雅黑" panose="020B0503020204020204" pitchFamily="34" charset="-122"/>
                <a:ea typeface="微软雅黑" panose="020B0503020204020204" pitchFamily="34" charset="-122"/>
              </a:rPr>
              <a:t>HAE</a:t>
            </a:r>
            <a:r>
              <a:rPr lang="zh-CN" altLang="en-US" sz="1800" b="1" dirty="0">
                <a:solidFill>
                  <a:srgbClr val="1A1918"/>
                </a:solidFill>
                <a:latin typeface="微软雅黑" panose="020B0503020204020204" pitchFamily="34" charset="-122"/>
                <a:ea typeface="微软雅黑" panose="020B0503020204020204" pitchFamily="34" charset="-122"/>
              </a:rPr>
              <a:t>）是</a:t>
            </a:r>
            <a:r>
              <a:rPr kumimoji="1" lang="zh-CN" altLang="en-US" sz="1800" b="1" dirty="0">
                <a:solidFill>
                  <a:schemeClr val="accent2"/>
                </a:solidFill>
                <a:latin typeface="微软雅黑" panose="020B0503020204020204" pitchFamily="34" charset="-122"/>
                <a:ea typeface="微软雅黑" panose="020B0503020204020204" pitchFamily="34" charset="-122"/>
              </a:rPr>
              <a:t>第一批</a:t>
            </a:r>
            <a:r>
              <a:rPr kumimoji="1" lang="en-US" altLang="zh-CN" sz="1800" b="1" dirty="0">
                <a:solidFill>
                  <a:schemeClr val="accent2"/>
                </a:solidFill>
                <a:latin typeface="微软雅黑" panose="020B0503020204020204" pitchFamily="34" charset="-122"/>
                <a:ea typeface="微软雅黑" panose="020B0503020204020204" pitchFamily="34" charset="-122"/>
              </a:rPr>
              <a:t>121</a:t>
            </a:r>
            <a:r>
              <a:rPr kumimoji="1" lang="zh-CN" altLang="en-US" sz="1800" b="1" dirty="0">
                <a:solidFill>
                  <a:schemeClr val="accent2"/>
                </a:solidFill>
                <a:latin typeface="微软雅黑" panose="020B0503020204020204" pitchFamily="34" charset="-122"/>
                <a:ea typeface="微软雅黑" panose="020B0503020204020204" pitchFamily="34" charset="-122"/>
              </a:rPr>
              <a:t>罕见病目录中病种之一（编号</a:t>
            </a:r>
            <a:r>
              <a:rPr kumimoji="1" lang="en-US" altLang="zh-CN" sz="1800" b="1" dirty="0">
                <a:solidFill>
                  <a:schemeClr val="accent2"/>
                </a:solidFill>
                <a:latin typeface="微软雅黑" panose="020B0503020204020204" pitchFamily="34" charset="-122"/>
                <a:ea typeface="微软雅黑" panose="020B0503020204020204" pitchFamily="34" charset="-122"/>
              </a:rPr>
              <a:t>38</a:t>
            </a:r>
            <a:r>
              <a:rPr kumimoji="1" lang="zh-CN" altLang="en-US" sz="1800" b="1" dirty="0">
                <a:solidFill>
                  <a:schemeClr val="accent2"/>
                </a:solidFill>
                <a:latin typeface="微软雅黑" panose="020B0503020204020204" pitchFamily="34" charset="-122"/>
                <a:ea typeface="微软雅黑" panose="020B0503020204020204" pitchFamily="34" charset="-122"/>
              </a:rPr>
              <a:t>）</a:t>
            </a:r>
            <a:r>
              <a:rPr kumimoji="1" lang="zh-CN" altLang="en-US" sz="1800" b="1" dirty="0">
                <a:solidFill>
                  <a:srgbClr val="1A1918"/>
                </a:solidFill>
                <a:latin typeface="微软雅黑" panose="020B0503020204020204" pitchFamily="34" charset="-122"/>
                <a:ea typeface="微软雅黑" panose="020B0503020204020204" pitchFamily="34" charset="-122"/>
              </a:rPr>
              <a:t>，</a:t>
            </a:r>
            <a:r>
              <a:rPr lang="zh-CN" altLang="en-US" sz="1800" b="1" dirty="0">
                <a:solidFill>
                  <a:srgbClr val="1A1918"/>
                </a:solidFill>
                <a:latin typeface="微软雅黑" panose="020B0503020204020204" pitchFamily="34" charset="-122"/>
                <a:ea typeface="微软雅黑" panose="020B0503020204020204" pitchFamily="34" charset="-122"/>
              </a:rPr>
              <a:t>急性发作不可预测，严重发作会致死，疾病负担重，国内无其他可用针对性治疗药物</a:t>
            </a:r>
            <a:endParaRPr lang="en-JP" sz="1800" b="1" dirty="0">
              <a:solidFill>
                <a:srgbClr val="1A1918"/>
              </a:solidFill>
              <a:latin typeface="微软雅黑" panose="020B0503020204020204" pitchFamily="34" charset="-122"/>
              <a:ea typeface="微软雅黑" panose="020B0503020204020204" pitchFamily="34" charset="-122"/>
            </a:endParaRPr>
          </a:p>
        </p:txBody>
      </p:sp>
      <p:sp>
        <p:nvSpPr>
          <p:cNvPr id="58" name="矩形: 圆角 57">
            <a:extLst>
              <a:ext uri="{FF2B5EF4-FFF2-40B4-BE49-F238E27FC236}">
                <a16:creationId xmlns:a16="http://schemas.microsoft.com/office/drawing/2014/main" id="{284CDAFC-21E3-4021-9021-B3C1D9F69FCE}"/>
              </a:ext>
            </a:extLst>
          </p:cNvPr>
          <p:cNvSpPr/>
          <p:nvPr/>
        </p:nvSpPr>
        <p:spPr>
          <a:xfrm>
            <a:off x="6575245" y="2041561"/>
            <a:ext cx="4900926" cy="2053918"/>
          </a:xfrm>
          <a:prstGeom prst="roundRect">
            <a:avLst>
              <a:gd name="adj" fmla="val 7737"/>
            </a:avLst>
          </a:prstGeom>
          <a:solidFill>
            <a:schemeClr val="bg2">
              <a:lumMod val="95000"/>
            </a:schemeClr>
          </a:solidFill>
          <a:ln w="19050">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14" name="文本框 13">
            <a:extLst>
              <a:ext uri="{FF2B5EF4-FFF2-40B4-BE49-F238E27FC236}">
                <a16:creationId xmlns:a16="http://schemas.microsoft.com/office/drawing/2014/main" id="{8015F367-214F-4D84-973D-59181FA580EB}"/>
              </a:ext>
            </a:extLst>
          </p:cNvPr>
          <p:cNvSpPr txBox="1"/>
          <p:nvPr/>
        </p:nvSpPr>
        <p:spPr>
          <a:xfrm>
            <a:off x="7177493" y="2049009"/>
            <a:ext cx="3929925" cy="307777"/>
          </a:xfrm>
          <a:prstGeom prst="rect">
            <a:avLst/>
          </a:prstGeom>
          <a:noFill/>
        </p:spPr>
        <p:txBody>
          <a:bodyPr wrap="square">
            <a:spAutoFit/>
          </a:bodyPr>
          <a:lstStyle>
            <a:defPPr>
              <a:defRPr lang="en-US"/>
            </a:defPPr>
            <a:lvl1pPr marL="171450" indent="-171450">
              <a:buFont typeface="Arial" panose="020B0604020202020204" pitchFamily="34" charset="0"/>
              <a:buChar char="•"/>
              <a:defRPr sz="1200" u="none" strike="noStrike" baseline="0">
                <a:solidFill>
                  <a:srgbClr val="333333"/>
                </a:solidFill>
                <a:latin typeface="微软雅黑" panose="020B0503020204020204" pitchFamily="34" charset="-122"/>
                <a:ea typeface="微软雅黑" panose="020B0503020204020204" pitchFamily="34" charset="-122"/>
              </a:defRPr>
            </a:lvl1pPr>
          </a:lstStyle>
          <a:p>
            <a:pPr marL="0" indent="0">
              <a:buNone/>
            </a:pPr>
            <a:r>
              <a:rPr lang="en-US" altLang="zh-CN" sz="1400" b="1" dirty="0">
                <a:solidFill>
                  <a:srgbClr val="1A1918"/>
                </a:solidFill>
              </a:rPr>
              <a:t>HAE</a:t>
            </a:r>
            <a:r>
              <a:rPr lang="zh-CN" altLang="en-US" sz="1400" b="1" dirty="0">
                <a:solidFill>
                  <a:srgbClr val="1A1918"/>
                </a:solidFill>
              </a:rPr>
              <a:t>急性水肿发作频率高，且大多数为中重度</a:t>
            </a:r>
            <a:endParaRPr lang="en-US" altLang="zh-CN" sz="1400" b="1" dirty="0">
              <a:solidFill>
                <a:srgbClr val="1A1918"/>
              </a:solidFill>
            </a:endParaRPr>
          </a:p>
        </p:txBody>
      </p:sp>
      <p:grpSp>
        <p:nvGrpSpPr>
          <p:cNvPr id="66" name="组合 65">
            <a:extLst>
              <a:ext uri="{FF2B5EF4-FFF2-40B4-BE49-F238E27FC236}">
                <a16:creationId xmlns:a16="http://schemas.microsoft.com/office/drawing/2014/main" id="{4459A8E9-FCC6-4912-A688-EC1800C946AD}"/>
              </a:ext>
            </a:extLst>
          </p:cNvPr>
          <p:cNvGrpSpPr/>
          <p:nvPr/>
        </p:nvGrpSpPr>
        <p:grpSpPr>
          <a:xfrm>
            <a:off x="6996282" y="2228429"/>
            <a:ext cx="1821404" cy="1893270"/>
            <a:chOff x="6534149" y="2209292"/>
            <a:chExt cx="1821404" cy="1893270"/>
          </a:xfrm>
        </p:grpSpPr>
        <p:graphicFrame>
          <p:nvGraphicFramePr>
            <p:cNvPr id="59" name="图表 58">
              <a:extLst>
                <a:ext uri="{FF2B5EF4-FFF2-40B4-BE49-F238E27FC236}">
                  <a16:creationId xmlns:a16="http://schemas.microsoft.com/office/drawing/2014/main" id="{42E968F1-2DA8-4C2F-AB5D-1A9DAB3C7FE7}"/>
                </a:ext>
              </a:extLst>
            </p:cNvPr>
            <p:cNvGraphicFramePr/>
            <p:nvPr/>
          </p:nvGraphicFramePr>
          <p:xfrm>
            <a:off x="6534149" y="2209292"/>
            <a:ext cx="1821404" cy="1160184"/>
          </p:xfrm>
          <a:graphic>
            <a:graphicData uri="http://schemas.openxmlformats.org/drawingml/2006/chart">
              <c:chart xmlns:c="http://schemas.openxmlformats.org/drawingml/2006/chart" xmlns:r="http://schemas.openxmlformats.org/officeDocument/2006/relationships" r:id="rId7"/>
            </a:graphicData>
          </a:graphic>
        </p:graphicFrame>
        <p:sp>
          <p:nvSpPr>
            <p:cNvPr id="60" name="矩形 59">
              <a:extLst>
                <a:ext uri="{FF2B5EF4-FFF2-40B4-BE49-F238E27FC236}">
                  <a16:creationId xmlns:a16="http://schemas.microsoft.com/office/drawing/2014/main" id="{49F7946E-02DE-486F-826A-98004BA9A76E}"/>
                </a:ext>
              </a:extLst>
            </p:cNvPr>
            <p:cNvSpPr/>
            <p:nvPr/>
          </p:nvSpPr>
          <p:spPr>
            <a:xfrm>
              <a:off x="7187040" y="2785499"/>
              <a:ext cx="359560" cy="212051"/>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lang="en-US" altLang="zh-CN" b="1">
                  <a:solidFill>
                    <a:schemeClr val="accent2"/>
                  </a:solidFill>
                  <a:latin typeface="微软雅黑" panose="020B0503020204020204" pitchFamily="34" charset="-122"/>
                  <a:ea typeface="微软雅黑" panose="020B0503020204020204" pitchFamily="34" charset="-122"/>
                </a:rPr>
                <a:t>24.8%</a:t>
              </a:r>
              <a:endParaRPr kumimoji="1" lang="zh-CN" altLang="en-US" b="1">
                <a:solidFill>
                  <a:schemeClr val="accent2"/>
                </a:solidFill>
                <a:latin typeface="+mj-lt"/>
                <a:ea typeface="微软雅黑" panose="020B0503020204020204" pitchFamily="34" charset="-122"/>
              </a:endParaRPr>
            </a:p>
          </p:txBody>
        </p:sp>
        <p:sp>
          <p:nvSpPr>
            <p:cNvPr id="62" name="文本框 61">
              <a:extLst>
                <a:ext uri="{FF2B5EF4-FFF2-40B4-BE49-F238E27FC236}">
                  <a16:creationId xmlns:a16="http://schemas.microsoft.com/office/drawing/2014/main" id="{A52BE3CE-5936-4139-9E63-AAC3E0C55F98}"/>
                </a:ext>
              </a:extLst>
            </p:cNvPr>
            <p:cNvSpPr txBox="1"/>
            <p:nvPr/>
          </p:nvSpPr>
          <p:spPr>
            <a:xfrm>
              <a:off x="6534149" y="3394676"/>
              <a:ext cx="1652306" cy="707886"/>
            </a:xfrm>
            <a:prstGeom prst="rect">
              <a:avLst/>
            </a:prstGeom>
            <a:noFill/>
          </p:spPr>
          <p:txBody>
            <a:bodyPr wrap="square">
              <a:spAutoFit/>
            </a:bodyPr>
            <a:lstStyle/>
            <a:p>
              <a:pPr algn="ctr"/>
              <a:r>
                <a:rPr lang="zh-CN" altLang="en-US" sz="1200" b="1" dirty="0">
                  <a:solidFill>
                    <a:schemeClr val="accent2"/>
                  </a:solidFill>
                  <a:latin typeface="微软雅黑" panose="020B0503020204020204" pitchFamily="34" charset="-122"/>
                  <a:ea typeface="微软雅黑" panose="020B0503020204020204" pitchFamily="34" charset="-122"/>
                </a:rPr>
                <a:t>中国</a:t>
              </a:r>
              <a:r>
                <a:rPr lang="zh-CN" altLang="en-US" sz="1200" dirty="0">
                  <a:solidFill>
                    <a:srgbClr val="1A1918"/>
                  </a:solidFill>
                  <a:latin typeface="微软雅黑" panose="020B0503020204020204" pitchFamily="34" charset="-122"/>
                  <a:ea typeface="微软雅黑" panose="020B0503020204020204" pitchFamily="34" charset="-122"/>
                </a:rPr>
                <a:t>研究显示，未经治疗时</a:t>
              </a:r>
              <a:r>
                <a:rPr lang="en-US" altLang="zh-CN" sz="1400" b="1" dirty="0">
                  <a:solidFill>
                    <a:schemeClr val="accent2"/>
                  </a:solidFill>
                  <a:latin typeface="微软雅黑" panose="020B0503020204020204" pitchFamily="34" charset="-122"/>
                  <a:ea typeface="微软雅黑" panose="020B0503020204020204" pitchFamily="34" charset="-122"/>
                </a:rPr>
                <a:t>24.8%</a:t>
              </a:r>
              <a:r>
                <a:rPr lang="zh-CN" altLang="en-US" sz="1400" b="1" dirty="0">
                  <a:solidFill>
                    <a:schemeClr val="accent2"/>
                  </a:solidFill>
                  <a:latin typeface="微软雅黑" panose="020B0503020204020204" pitchFamily="34" charset="-122"/>
                  <a:ea typeface="微软雅黑" panose="020B0503020204020204" pitchFamily="34" charset="-122"/>
                </a:rPr>
                <a:t>患者发作≥</a:t>
              </a:r>
              <a:r>
                <a:rPr lang="en-US" altLang="zh-CN" sz="1400" b="1" dirty="0">
                  <a:solidFill>
                    <a:schemeClr val="accent2"/>
                  </a:solidFill>
                  <a:latin typeface="微软雅黑" panose="020B0503020204020204" pitchFamily="34" charset="-122"/>
                  <a:ea typeface="微软雅黑" panose="020B0503020204020204" pitchFamily="34" charset="-122"/>
                </a:rPr>
                <a:t>1</a:t>
              </a:r>
              <a:r>
                <a:rPr lang="zh-CN" altLang="en-US" sz="1400" b="1" dirty="0">
                  <a:solidFill>
                    <a:schemeClr val="accent2"/>
                  </a:solidFill>
                  <a:latin typeface="微软雅黑" panose="020B0503020204020204" pitchFamily="34" charset="-122"/>
                  <a:ea typeface="微软雅黑" panose="020B0503020204020204" pitchFamily="34" charset="-122"/>
                </a:rPr>
                <a:t>次</a:t>
              </a:r>
              <a:r>
                <a:rPr lang="en-US" altLang="zh-CN" sz="1400" b="1" dirty="0">
                  <a:solidFill>
                    <a:schemeClr val="accent2"/>
                  </a:solidFill>
                  <a:latin typeface="微软雅黑" panose="020B0503020204020204" pitchFamily="34" charset="-122"/>
                  <a:ea typeface="微软雅黑" panose="020B0503020204020204" pitchFamily="34" charset="-122"/>
                </a:rPr>
                <a:t>/</a:t>
              </a:r>
              <a:r>
                <a:rPr lang="zh-CN" altLang="en-US" sz="1400" b="1" dirty="0">
                  <a:solidFill>
                    <a:schemeClr val="accent2"/>
                  </a:solidFill>
                  <a:latin typeface="微软雅黑" panose="020B0503020204020204" pitchFamily="34" charset="-122"/>
                  <a:ea typeface="微软雅黑" panose="020B0503020204020204" pitchFamily="34" charset="-122"/>
                </a:rPr>
                <a:t>月</a:t>
              </a:r>
              <a:r>
                <a:rPr lang="en-US" altLang="zh-CN" sz="1200" b="1" baseline="30000" dirty="0">
                  <a:solidFill>
                    <a:schemeClr val="accent2"/>
                  </a:solidFill>
                  <a:latin typeface="微软雅黑" panose="020B0503020204020204" pitchFamily="34" charset="-122"/>
                  <a:ea typeface="微软雅黑" panose="020B0503020204020204" pitchFamily="34" charset="-122"/>
                </a:rPr>
                <a:t>2</a:t>
              </a:r>
              <a:endParaRPr lang="zh-CN" altLang="en-US" sz="1200" baseline="30000" dirty="0">
                <a:latin typeface="微软雅黑" panose="020B0503020204020204" pitchFamily="34" charset="-122"/>
                <a:ea typeface="微软雅黑" panose="020B0503020204020204" pitchFamily="34" charset="-122"/>
              </a:endParaRPr>
            </a:p>
          </p:txBody>
        </p:sp>
      </p:grpSp>
      <p:graphicFrame>
        <p:nvGraphicFramePr>
          <p:cNvPr id="35" name="图表 34">
            <a:extLst>
              <a:ext uri="{FF2B5EF4-FFF2-40B4-BE49-F238E27FC236}">
                <a16:creationId xmlns:a16="http://schemas.microsoft.com/office/drawing/2014/main" id="{6C0F3253-8D77-468F-B78B-50E33B34959F}"/>
              </a:ext>
            </a:extLst>
          </p:cNvPr>
          <p:cNvGraphicFramePr/>
          <p:nvPr/>
        </p:nvGraphicFramePr>
        <p:xfrm>
          <a:off x="9148137" y="2223082"/>
          <a:ext cx="2110716" cy="1123546"/>
        </p:xfrm>
        <a:graphic>
          <a:graphicData uri="http://schemas.openxmlformats.org/drawingml/2006/chart">
            <c:chart xmlns:c="http://schemas.openxmlformats.org/drawingml/2006/chart" xmlns:r="http://schemas.openxmlformats.org/officeDocument/2006/relationships" r:id="rId8"/>
          </a:graphicData>
        </a:graphic>
      </p:graphicFrame>
      <p:sp>
        <p:nvSpPr>
          <p:cNvPr id="36" name="Rectangle 10">
            <a:extLst>
              <a:ext uri="{FF2B5EF4-FFF2-40B4-BE49-F238E27FC236}">
                <a16:creationId xmlns:a16="http://schemas.microsoft.com/office/drawing/2014/main" id="{957890CC-D4D8-46B8-AD3F-C0EB51FE88F1}"/>
              </a:ext>
            </a:extLst>
          </p:cNvPr>
          <p:cNvSpPr>
            <a:spLocks noChangeArrowheads="1"/>
          </p:cNvSpPr>
          <p:nvPr/>
        </p:nvSpPr>
        <p:spPr bwMode="auto">
          <a:xfrm>
            <a:off x="9318798" y="3458082"/>
            <a:ext cx="1690878" cy="579465"/>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lang="en-US" altLang="zh-CN" sz="1400" b="1" dirty="0">
                <a:solidFill>
                  <a:schemeClr val="accent2"/>
                </a:solidFill>
                <a:latin typeface="微软雅黑" panose="020B0503020204020204" pitchFamily="34" charset="-122"/>
                <a:ea typeface="微软雅黑" panose="020B0503020204020204" pitchFamily="34" charset="-122"/>
              </a:rPr>
              <a:t>62.5%</a:t>
            </a:r>
          </a:p>
          <a:p>
            <a:pPr algn="ctr"/>
            <a:r>
              <a:rPr lang="zh-CN" altLang="en-US" sz="1400" b="1" dirty="0">
                <a:solidFill>
                  <a:schemeClr val="accent2"/>
                </a:solidFill>
                <a:latin typeface="微软雅黑" panose="020B0503020204020204" pitchFamily="34" charset="-122"/>
                <a:ea typeface="微软雅黑" panose="020B0503020204020204" pitchFamily="34" charset="-122"/>
              </a:rPr>
              <a:t>发作为中重度</a:t>
            </a:r>
            <a:r>
              <a:rPr lang="zh-CN" altLang="en-US" sz="1200" b="1" dirty="0">
                <a:solidFill>
                  <a:schemeClr val="accent2"/>
                </a:solidFill>
                <a:latin typeface="微软雅黑" panose="020B0503020204020204" pitchFamily="34" charset="-122"/>
                <a:ea typeface="微软雅黑" panose="020B0503020204020204" pitchFamily="34" charset="-122"/>
              </a:rPr>
              <a:t>，</a:t>
            </a:r>
            <a:r>
              <a:rPr lang="zh-CN" altLang="en-US" sz="1200" dirty="0">
                <a:solidFill>
                  <a:srgbClr val="1A1918"/>
                </a:solidFill>
                <a:latin typeface="微软雅黑" panose="020B0503020204020204" pitchFamily="34" charset="-122"/>
                <a:ea typeface="微软雅黑" panose="020B0503020204020204" pitchFamily="34" charset="-122"/>
              </a:rPr>
              <a:t>显著影响患者生活</a:t>
            </a:r>
            <a:r>
              <a:rPr lang="en-US" altLang="zh-CN" sz="1200" baseline="30000" dirty="0">
                <a:solidFill>
                  <a:srgbClr val="1A1918"/>
                </a:solidFill>
                <a:latin typeface="微软雅黑" panose="020B0503020204020204" pitchFamily="34" charset="-122"/>
                <a:ea typeface="微软雅黑" panose="020B0503020204020204" pitchFamily="34" charset="-122"/>
              </a:rPr>
              <a:t>3</a:t>
            </a:r>
            <a:endParaRPr lang="en-US" sz="1200" baseline="30000" dirty="0">
              <a:solidFill>
                <a:srgbClr val="1A1918"/>
              </a:solidFill>
              <a:latin typeface="微软雅黑" panose="020B0503020204020204" pitchFamily="34" charset="-122"/>
              <a:ea typeface="微软雅黑" panose="020B0503020204020204" pitchFamily="34" charset="-122"/>
            </a:endParaRPr>
          </a:p>
        </p:txBody>
      </p:sp>
      <p:sp>
        <p:nvSpPr>
          <p:cNvPr id="38" name="矩形: 圆角 37">
            <a:extLst>
              <a:ext uri="{FF2B5EF4-FFF2-40B4-BE49-F238E27FC236}">
                <a16:creationId xmlns:a16="http://schemas.microsoft.com/office/drawing/2014/main" id="{47F76215-9DCA-44E7-9EA3-AEE62A5754A2}"/>
              </a:ext>
            </a:extLst>
          </p:cNvPr>
          <p:cNvSpPr/>
          <p:nvPr/>
        </p:nvSpPr>
        <p:spPr>
          <a:xfrm>
            <a:off x="6575245" y="4216798"/>
            <a:ext cx="4900926" cy="2053918"/>
          </a:xfrm>
          <a:prstGeom prst="roundRect">
            <a:avLst>
              <a:gd name="adj" fmla="val 7737"/>
            </a:avLst>
          </a:prstGeom>
          <a:solidFill>
            <a:schemeClr val="bg2">
              <a:lumMod val="95000"/>
            </a:schemeClr>
          </a:solidFill>
          <a:ln w="19050">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39" name="文本框 38">
            <a:extLst>
              <a:ext uri="{FF2B5EF4-FFF2-40B4-BE49-F238E27FC236}">
                <a16:creationId xmlns:a16="http://schemas.microsoft.com/office/drawing/2014/main" id="{29AFF01B-37FD-42DA-AACD-CEB64CFD3873}"/>
              </a:ext>
            </a:extLst>
          </p:cNvPr>
          <p:cNvSpPr txBox="1"/>
          <p:nvPr/>
        </p:nvSpPr>
        <p:spPr>
          <a:xfrm>
            <a:off x="7328929" y="4256098"/>
            <a:ext cx="3929925" cy="307777"/>
          </a:xfrm>
          <a:prstGeom prst="rect">
            <a:avLst/>
          </a:prstGeom>
          <a:noFill/>
        </p:spPr>
        <p:txBody>
          <a:bodyPr wrap="square">
            <a:spAutoFit/>
          </a:bodyPr>
          <a:lstStyle>
            <a:defPPr>
              <a:defRPr lang="en-US"/>
            </a:defPPr>
            <a:lvl1pPr marL="171450" indent="-171450">
              <a:buFont typeface="Arial" panose="020B0604020202020204" pitchFamily="34" charset="0"/>
              <a:buChar char="•"/>
              <a:defRPr sz="1200" u="none" strike="noStrike" baseline="0">
                <a:solidFill>
                  <a:srgbClr val="333333"/>
                </a:solidFill>
                <a:latin typeface="微软雅黑" panose="020B0503020204020204" pitchFamily="34" charset="-122"/>
                <a:ea typeface="微软雅黑" panose="020B0503020204020204" pitchFamily="34" charset="-122"/>
              </a:defRPr>
            </a:lvl1pPr>
          </a:lstStyle>
          <a:p>
            <a:pPr marL="0" indent="0">
              <a:buNone/>
            </a:pPr>
            <a:r>
              <a:rPr lang="zh-CN" altLang="en-US" sz="1400" b="1" dirty="0">
                <a:solidFill>
                  <a:srgbClr val="1A1918"/>
                </a:solidFill>
              </a:rPr>
              <a:t>喉部发作时进展迅速，可能导致窒息死亡</a:t>
            </a:r>
            <a:endParaRPr lang="en-US" altLang="zh-CN" sz="1400" b="1" dirty="0">
              <a:solidFill>
                <a:srgbClr val="1A1918"/>
              </a:solidFill>
            </a:endParaRPr>
          </a:p>
        </p:txBody>
      </p:sp>
      <p:sp>
        <p:nvSpPr>
          <p:cNvPr id="50" name="矩形: 圆角 49">
            <a:extLst>
              <a:ext uri="{FF2B5EF4-FFF2-40B4-BE49-F238E27FC236}">
                <a16:creationId xmlns:a16="http://schemas.microsoft.com/office/drawing/2014/main" id="{19343344-688F-4620-A42B-F8370175A846}"/>
              </a:ext>
            </a:extLst>
          </p:cNvPr>
          <p:cNvSpPr/>
          <p:nvPr/>
        </p:nvSpPr>
        <p:spPr>
          <a:xfrm>
            <a:off x="6714568" y="4758695"/>
            <a:ext cx="802718" cy="551423"/>
          </a:xfrm>
          <a:prstGeom prst="roundRect">
            <a:avLst>
              <a:gd name="adj" fmla="val 22371"/>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2800" b="1">
                <a:solidFill>
                  <a:schemeClr val="accent2"/>
                </a:solidFill>
                <a:latin typeface="微软雅黑" panose="020B0503020204020204" pitchFamily="34" charset="-122"/>
                <a:ea typeface="微软雅黑" panose="020B0503020204020204" pitchFamily="34" charset="-122"/>
              </a:rPr>
              <a:t>59</a:t>
            </a:r>
            <a:r>
              <a:rPr kumimoji="1" lang="en-US" altLang="zh-CN" b="1">
                <a:solidFill>
                  <a:schemeClr val="accent2"/>
                </a:solidFill>
                <a:latin typeface="微软雅黑" panose="020B0503020204020204" pitchFamily="34" charset="-122"/>
                <a:ea typeface="微软雅黑" panose="020B0503020204020204" pitchFamily="34" charset="-122"/>
              </a:rPr>
              <a:t>%</a:t>
            </a:r>
            <a:endParaRPr kumimoji="1" lang="zh-CN" altLang="en-US" sz="1600">
              <a:solidFill>
                <a:schemeClr val="accent2"/>
              </a:solidFill>
              <a:latin typeface="微软雅黑" panose="020B0503020204020204" pitchFamily="34" charset="-122"/>
              <a:ea typeface="微软雅黑" panose="020B0503020204020204" pitchFamily="34" charset="-122"/>
            </a:endParaRPr>
          </a:p>
        </p:txBody>
      </p:sp>
      <p:sp>
        <p:nvSpPr>
          <p:cNvPr id="55" name="矩形: 圆角 54">
            <a:extLst>
              <a:ext uri="{FF2B5EF4-FFF2-40B4-BE49-F238E27FC236}">
                <a16:creationId xmlns:a16="http://schemas.microsoft.com/office/drawing/2014/main" id="{498EE873-B843-41C0-87CF-C4B79D6AA899}"/>
              </a:ext>
            </a:extLst>
          </p:cNvPr>
          <p:cNvSpPr/>
          <p:nvPr/>
        </p:nvSpPr>
        <p:spPr>
          <a:xfrm>
            <a:off x="7482307" y="4746590"/>
            <a:ext cx="1415113" cy="551423"/>
          </a:xfrm>
          <a:prstGeom prst="roundRect">
            <a:avLst>
              <a:gd name="adj" fmla="val 22371"/>
            </a:avLst>
          </a:prstGeom>
          <a:noFill/>
          <a:ln w="28575">
            <a:noFill/>
          </a:ln>
        </p:spPr>
        <p:style>
          <a:lnRef idx="1">
            <a:schemeClr val="accent1"/>
          </a:lnRef>
          <a:fillRef idx="0">
            <a:schemeClr val="accent1"/>
          </a:fillRef>
          <a:effectRef idx="0">
            <a:schemeClr val="accent1"/>
          </a:effectRef>
          <a:fontRef idx="minor">
            <a:schemeClr val="tx1"/>
          </a:fontRef>
        </p:style>
        <p:txBody>
          <a:bodyPr wrap="square" rtlCol="0" anchor="ctr"/>
          <a:lstStyle/>
          <a:p>
            <a:r>
              <a:rPr kumimoji="1" lang="zh-CN" altLang="en-US" sz="1200" dirty="0">
                <a:solidFill>
                  <a:srgbClr val="1A1918"/>
                </a:solidFill>
                <a:latin typeface="微软雅黑" panose="020B0503020204020204" pitchFamily="34" charset="-122"/>
                <a:ea typeface="微软雅黑" panose="020B0503020204020204" pitchFamily="34" charset="-122"/>
              </a:rPr>
              <a:t>中国患者至少发生过一次</a:t>
            </a:r>
            <a:r>
              <a:rPr kumimoji="1" lang="zh-CN" altLang="en-US" sz="1200" b="1" dirty="0">
                <a:solidFill>
                  <a:srgbClr val="1A1918"/>
                </a:solidFill>
                <a:latin typeface="微软雅黑" panose="020B0503020204020204" pitchFamily="34" charset="-122"/>
                <a:ea typeface="微软雅黑" panose="020B0503020204020204" pitchFamily="34" charset="-122"/>
              </a:rPr>
              <a:t>喉部水肿</a:t>
            </a:r>
            <a:r>
              <a:rPr kumimoji="1" lang="zh-CN" altLang="en-US" sz="1200" dirty="0">
                <a:solidFill>
                  <a:srgbClr val="1A1918"/>
                </a:solidFill>
                <a:latin typeface="微软雅黑" panose="020B0503020204020204" pitchFamily="34" charset="-122"/>
                <a:ea typeface="微软雅黑" panose="020B0503020204020204" pitchFamily="34" charset="-122"/>
              </a:rPr>
              <a:t>的比例</a:t>
            </a:r>
            <a:r>
              <a:rPr kumimoji="1" lang="en-US" altLang="zh-CN" sz="1200" baseline="30000" dirty="0">
                <a:solidFill>
                  <a:srgbClr val="1A1918"/>
                </a:solidFill>
                <a:latin typeface="微软雅黑" panose="020B0503020204020204" pitchFamily="34" charset="-122"/>
                <a:ea typeface="微软雅黑" panose="020B0503020204020204" pitchFamily="34" charset="-122"/>
              </a:rPr>
              <a:t>1</a:t>
            </a:r>
            <a:endParaRPr kumimoji="1" lang="zh-CN" altLang="en-US" sz="1200" baseline="30000" dirty="0">
              <a:solidFill>
                <a:srgbClr val="1A1918"/>
              </a:solidFill>
              <a:latin typeface="微软雅黑" panose="020B0503020204020204" pitchFamily="34" charset="-122"/>
              <a:ea typeface="微软雅黑" panose="020B0503020204020204" pitchFamily="34" charset="-122"/>
            </a:endParaRPr>
          </a:p>
        </p:txBody>
      </p:sp>
      <p:sp>
        <p:nvSpPr>
          <p:cNvPr id="61" name="矩形: 圆角 60">
            <a:extLst>
              <a:ext uri="{FF2B5EF4-FFF2-40B4-BE49-F238E27FC236}">
                <a16:creationId xmlns:a16="http://schemas.microsoft.com/office/drawing/2014/main" id="{192FA717-4C43-480C-9545-4895BA709CFC}"/>
              </a:ext>
            </a:extLst>
          </p:cNvPr>
          <p:cNvSpPr/>
          <p:nvPr/>
        </p:nvSpPr>
        <p:spPr>
          <a:xfrm>
            <a:off x="6714568" y="5489360"/>
            <a:ext cx="802718" cy="551423"/>
          </a:xfrm>
          <a:prstGeom prst="roundRect">
            <a:avLst>
              <a:gd name="adj" fmla="val 22371"/>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2800" b="1">
                <a:solidFill>
                  <a:schemeClr val="accent2"/>
                </a:solidFill>
                <a:latin typeface="微软雅黑" panose="020B0503020204020204" pitchFamily="34" charset="-122"/>
                <a:ea typeface="微软雅黑" panose="020B0503020204020204" pitchFamily="34" charset="-122"/>
              </a:rPr>
              <a:t>1</a:t>
            </a:r>
            <a:r>
              <a:rPr kumimoji="1" lang="zh-CN" altLang="en-US" sz="1200">
                <a:solidFill>
                  <a:schemeClr val="accent2"/>
                </a:solidFill>
                <a:latin typeface="微软雅黑" panose="020B0503020204020204" pitchFamily="34" charset="-122"/>
                <a:ea typeface="微软雅黑" panose="020B0503020204020204" pitchFamily="34" charset="-122"/>
              </a:rPr>
              <a:t>次</a:t>
            </a:r>
            <a:r>
              <a:rPr kumimoji="1" lang="en-US" altLang="zh-CN" sz="1200">
                <a:solidFill>
                  <a:schemeClr val="accent2"/>
                </a:solidFill>
                <a:latin typeface="微软雅黑" panose="020B0503020204020204" pitchFamily="34" charset="-122"/>
                <a:ea typeface="微软雅黑" panose="020B0503020204020204" pitchFamily="34" charset="-122"/>
              </a:rPr>
              <a:t>/2</a:t>
            </a:r>
            <a:r>
              <a:rPr kumimoji="1" lang="zh-CN" altLang="en-US" sz="1200">
                <a:solidFill>
                  <a:schemeClr val="accent2"/>
                </a:solidFill>
                <a:latin typeface="微软雅黑" panose="020B0503020204020204" pitchFamily="34" charset="-122"/>
                <a:ea typeface="微软雅黑" panose="020B0503020204020204" pitchFamily="34" charset="-122"/>
              </a:rPr>
              <a:t>年</a:t>
            </a:r>
            <a:endParaRPr kumimoji="1" lang="zh-CN" altLang="en-US" sz="1600">
              <a:solidFill>
                <a:schemeClr val="accent2"/>
              </a:solidFill>
              <a:latin typeface="微软雅黑" panose="020B0503020204020204" pitchFamily="34" charset="-122"/>
              <a:ea typeface="微软雅黑" panose="020B0503020204020204" pitchFamily="34" charset="-122"/>
            </a:endParaRPr>
          </a:p>
        </p:txBody>
      </p:sp>
      <p:sp>
        <p:nvSpPr>
          <p:cNvPr id="68" name="矩形: 圆角 67">
            <a:extLst>
              <a:ext uri="{FF2B5EF4-FFF2-40B4-BE49-F238E27FC236}">
                <a16:creationId xmlns:a16="http://schemas.microsoft.com/office/drawing/2014/main" id="{252820B3-6CAD-4699-B808-3CD4F0EB4E2F}"/>
              </a:ext>
            </a:extLst>
          </p:cNvPr>
          <p:cNvSpPr/>
          <p:nvPr/>
        </p:nvSpPr>
        <p:spPr>
          <a:xfrm>
            <a:off x="7482307" y="5489360"/>
            <a:ext cx="1415113" cy="551423"/>
          </a:xfrm>
          <a:prstGeom prst="roundRect">
            <a:avLst>
              <a:gd name="adj" fmla="val 22371"/>
            </a:avLst>
          </a:prstGeom>
          <a:noFill/>
          <a:ln w="28575">
            <a:noFill/>
          </a:ln>
        </p:spPr>
        <p:style>
          <a:lnRef idx="1">
            <a:schemeClr val="accent1"/>
          </a:lnRef>
          <a:fillRef idx="0">
            <a:schemeClr val="accent1"/>
          </a:fillRef>
          <a:effectRef idx="0">
            <a:schemeClr val="accent1"/>
          </a:effectRef>
          <a:fontRef idx="minor">
            <a:schemeClr val="tx1"/>
          </a:fontRef>
        </p:style>
        <p:txBody>
          <a:bodyPr wrap="square" rtlCol="0" anchor="ctr"/>
          <a:lstStyle/>
          <a:p>
            <a:r>
              <a:rPr kumimoji="1" lang="zh-CN" altLang="en-US" sz="1200">
                <a:solidFill>
                  <a:srgbClr val="1A1918"/>
                </a:solidFill>
                <a:latin typeface="微软雅黑" panose="020B0503020204020204" pitchFamily="34" charset="-122"/>
                <a:ea typeface="微软雅黑" panose="020B0503020204020204" pitchFamily="34" charset="-122"/>
              </a:rPr>
              <a:t>中国</a:t>
            </a:r>
            <a:r>
              <a:rPr kumimoji="1" lang="en-US" altLang="zh-CN" sz="1200">
                <a:solidFill>
                  <a:srgbClr val="1A1918"/>
                </a:solidFill>
                <a:latin typeface="微软雅黑" panose="020B0503020204020204" pitchFamily="34" charset="-122"/>
                <a:ea typeface="微软雅黑" panose="020B0503020204020204" pitchFamily="34" charset="-122"/>
              </a:rPr>
              <a:t>HAE</a:t>
            </a:r>
            <a:r>
              <a:rPr kumimoji="1" lang="zh-CN" altLang="en-US" sz="1200">
                <a:solidFill>
                  <a:srgbClr val="1A1918"/>
                </a:solidFill>
                <a:latin typeface="微软雅黑" panose="020B0503020204020204" pitchFamily="34" charset="-122"/>
                <a:ea typeface="微软雅黑" panose="020B0503020204020204" pitchFamily="34" charset="-122"/>
              </a:rPr>
              <a:t>患者喉部水肿中位发作</a:t>
            </a:r>
          </a:p>
          <a:p>
            <a:r>
              <a:rPr kumimoji="1" lang="zh-CN" altLang="en-US" sz="1200">
                <a:solidFill>
                  <a:srgbClr val="1A1918"/>
                </a:solidFill>
                <a:latin typeface="微软雅黑" panose="020B0503020204020204" pitchFamily="34" charset="-122"/>
                <a:ea typeface="微软雅黑" panose="020B0503020204020204" pitchFamily="34" charset="-122"/>
              </a:rPr>
              <a:t>频率</a:t>
            </a:r>
            <a:r>
              <a:rPr kumimoji="1" lang="en-US" altLang="zh-CN" sz="1200" baseline="30000">
                <a:solidFill>
                  <a:srgbClr val="1A1918"/>
                </a:solidFill>
                <a:latin typeface="微软雅黑" panose="020B0503020204020204" pitchFamily="34" charset="-122"/>
                <a:ea typeface="微软雅黑" panose="020B0503020204020204" pitchFamily="34" charset="-122"/>
              </a:rPr>
              <a:t>4</a:t>
            </a:r>
            <a:endParaRPr kumimoji="1" lang="zh-CN" altLang="en-US" sz="1200" baseline="30000">
              <a:solidFill>
                <a:srgbClr val="1A1918"/>
              </a:solidFill>
              <a:latin typeface="微软雅黑" panose="020B0503020204020204" pitchFamily="34" charset="-122"/>
              <a:ea typeface="微软雅黑" panose="020B0503020204020204" pitchFamily="34" charset="-122"/>
            </a:endParaRPr>
          </a:p>
        </p:txBody>
      </p:sp>
      <p:sp>
        <p:nvSpPr>
          <p:cNvPr id="69" name="矩形: 圆角 68">
            <a:extLst>
              <a:ext uri="{FF2B5EF4-FFF2-40B4-BE49-F238E27FC236}">
                <a16:creationId xmlns:a16="http://schemas.microsoft.com/office/drawing/2014/main" id="{0E209435-2155-4466-BCD2-2A8E156A2B36}"/>
              </a:ext>
            </a:extLst>
          </p:cNvPr>
          <p:cNvSpPr/>
          <p:nvPr/>
        </p:nvSpPr>
        <p:spPr>
          <a:xfrm>
            <a:off x="9172760" y="4758695"/>
            <a:ext cx="802718" cy="551423"/>
          </a:xfrm>
          <a:prstGeom prst="roundRect">
            <a:avLst>
              <a:gd name="adj" fmla="val 22371"/>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2800" b="1">
                <a:solidFill>
                  <a:schemeClr val="accent2"/>
                </a:solidFill>
                <a:latin typeface="微软雅黑" panose="020B0503020204020204" pitchFamily="34" charset="-122"/>
                <a:ea typeface="微软雅黑" panose="020B0503020204020204" pitchFamily="34" charset="-122"/>
              </a:rPr>
              <a:t>40</a:t>
            </a:r>
            <a:r>
              <a:rPr kumimoji="1" lang="en-US" altLang="zh-CN" b="1">
                <a:solidFill>
                  <a:schemeClr val="accent2"/>
                </a:solidFill>
                <a:latin typeface="微软雅黑" panose="020B0503020204020204" pitchFamily="34" charset="-122"/>
                <a:ea typeface="微软雅黑" panose="020B0503020204020204" pitchFamily="34" charset="-122"/>
              </a:rPr>
              <a:t>%</a:t>
            </a:r>
            <a:endParaRPr kumimoji="1" lang="zh-CN" altLang="en-US" sz="1600">
              <a:solidFill>
                <a:schemeClr val="accent2"/>
              </a:solidFill>
              <a:latin typeface="微软雅黑" panose="020B0503020204020204" pitchFamily="34" charset="-122"/>
              <a:ea typeface="微软雅黑" panose="020B0503020204020204" pitchFamily="34" charset="-122"/>
            </a:endParaRPr>
          </a:p>
        </p:txBody>
      </p:sp>
      <p:sp>
        <p:nvSpPr>
          <p:cNvPr id="70" name="矩形: 圆角 69">
            <a:extLst>
              <a:ext uri="{FF2B5EF4-FFF2-40B4-BE49-F238E27FC236}">
                <a16:creationId xmlns:a16="http://schemas.microsoft.com/office/drawing/2014/main" id="{CB088E23-0857-4154-9263-81247B7AFFB5}"/>
              </a:ext>
            </a:extLst>
          </p:cNvPr>
          <p:cNvSpPr/>
          <p:nvPr/>
        </p:nvSpPr>
        <p:spPr>
          <a:xfrm>
            <a:off x="9940499" y="4746590"/>
            <a:ext cx="1415113" cy="551423"/>
          </a:xfrm>
          <a:prstGeom prst="roundRect">
            <a:avLst>
              <a:gd name="adj" fmla="val 22371"/>
            </a:avLst>
          </a:prstGeom>
          <a:noFill/>
          <a:ln w="28575">
            <a:noFill/>
          </a:ln>
        </p:spPr>
        <p:style>
          <a:lnRef idx="1">
            <a:schemeClr val="accent1"/>
          </a:lnRef>
          <a:fillRef idx="0">
            <a:schemeClr val="accent1"/>
          </a:fillRef>
          <a:effectRef idx="0">
            <a:schemeClr val="accent1"/>
          </a:effectRef>
          <a:fontRef idx="minor">
            <a:schemeClr val="tx1"/>
          </a:fontRef>
        </p:style>
        <p:txBody>
          <a:bodyPr wrap="square" rtlCol="0" anchor="ctr"/>
          <a:lstStyle/>
          <a:p>
            <a:r>
              <a:rPr kumimoji="1" lang="zh-CN" altLang="en-US" sz="1200" b="1" dirty="0">
                <a:solidFill>
                  <a:srgbClr val="1A1918"/>
                </a:solidFill>
                <a:latin typeface="微软雅黑" panose="020B0503020204020204" pitchFamily="34" charset="-122"/>
                <a:ea typeface="微软雅黑" panose="020B0503020204020204" pitchFamily="34" charset="-122"/>
              </a:rPr>
              <a:t>因喉部水肿窒息的死亡率</a:t>
            </a:r>
            <a:r>
              <a:rPr kumimoji="1" lang="zh-CN" altLang="en-US" sz="1200" dirty="0">
                <a:solidFill>
                  <a:srgbClr val="1A1918"/>
                </a:solidFill>
                <a:latin typeface="微软雅黑" panose="020B0503020204020204" pitchFamily="34" charset="-122"/>
                <a:ea typeface="微软雅黑" panose="020B0503020204020204" pitchFamily="34" charset="-122"/>
              </a:rPr>
              <a:t>最高可</a:t>
            </a:r>
          </a:p>
          <a:p>
            <a:r>
              <a:rPr kumimoji="1" lang="zh-CN" altLang="en-US" sz="1200" dirty="0">
                <a:solidFill>
                  <a:srgbClr val="1A1918"/>
                </a:solidFill>
                <a:latin typeface="微软雅黑" panose="020B0503020204020204" pitchFamily="34" charset="-122"/>
                <a:ea typeface="微软雅黑" panose="020B0503020204020204" pitchFamily="34" charset="-122"/>
              </a:rPr>
              <a:t>达</a:t>
            </a:r>
            <a:r>
              <a:rPr kumimoji="1" lang="en-US" altLang="zh-CN" sz="1200" baseline="30000" dirty="0">
                <a:solidFill>
                  <a:srgbClr val="1A1918"/>
                </a:solidFill>
                <a:latin typeface="微软雅黑" panose="020B0503020204020204" pitchFamily="34" charset="-122"/>
                <a:ea typeface="微软雅黑" panose="020B0503020204020204" pitchFamily="34" charset="-122"/>
              </a:rPr>
              <a:t>1</a:t>
            </a:r>
            <a:endParaRPr kumimoji="1" lang="zh-CN" altLang="en-US" sz="1200" baseline="30000" dirty="0">
              <a:solidFill>
                <a:srgbClr val="1A1918"/>
              </a:solidFill>
              <a:latin typeface="微软雅黑" panose="020B0503020204020204" pitchFamily="34" charset="-122"/>
              <a:ea typeface="微软雅黑" panose="020B0503020204020204" pitchFamily="34" charset="-122"/>
            </a:endParaRPr>
          </a:p>
        </p:txBody>
      </p:sp>
      <p:sp>
        <p:nvSpPr>
          <p:cNvPr id="71" name="矩形: 圆角 70">
            <a:extLst>
              <a:ext uri="{FF2B5EF4-FFF2-40B4-BE49-F238E27FC236}">
                <a16:creationId xmlns:a16="http://schemas.microsoft.com/office/drawing/2014/main" id="{7B7B7107-FC6E-4377-AB68-6034BEE8E0FD}"/>
              </a:ext>
            </a:extLst>
          </p:cNvPr>
          <p:cNvSpPr/>
          <p:nvPr/>
        </p:nvSpPr>
        <p:spPr>
          <a:xfrm>
            <a:off x="9207739" y="5489360"/>
            <a:ext cx="802718" cy="551423"/>
          </a:xfrm>
          <a:prstGeom prst="roundRect">
            <a:avLst>
              <a:gd name="adj" fmla="val 22371"/>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2800" b="1">
                <a:solidFill>
                  <a:schemeClr val="accent2"/>
                </a:solidFill>
                <a:latin typeface="微软雅黑" panose="020B0503020204020204" pitchFamily="34" charset="-122"/>
                <a:ea typeface="微软雅黑" panose="020B0503020204020204" pitchFamily="34" charset="-122"/>
              </a:rPr>
              <a:t>4.6</a:t>
            </a:r>
            <a:r>
              <a:rPr kumimoji="1" lang="en-US" altLang="zh-CN" sz="1600" b="1">
                <a:solidFill>
                  <a:schemeClr val="accent2"/>
                </a:solidFill>
                <a:latin typeface="微软雅黑" panose="020B0503020204020204" pitchFamily="34" charset="-122"/>
                <a:ea typeface="微软雅黑" panose="020B0503020204020204" pitchFamily="34" charset="-122"/>
              </a:rPr>
              <a:t>h</a:t>
            </a:r>
            <a:endParaRPr kumimoji="1" lang="zh-CN" altLang="en-US" sz="1600">
              <a:solidFill>
                <a:schemeClr val="accent2"/>
              </a:solidFill>
              <a:latin typeface="微软雅黑" panose="020B0503020204020204" pitchFamily="34" charset="-122"/>
              <a:ea typeface="微软雅黑" panose="020B0503020204020204" pitchFamily="34" charset="-122"/>
            </a:endParaRPr>
          </a:p>
        </p:txBody>
      </p:sp>
      <p:sp>
        <p:nvSpPr>
          <p:cNvPr id="72" name="矩形: 圆角 71">
            <a:extLst>
              <a:ext uri="{FF2B5EF4-FFF2-40B4-BE49-F238E27FC236}">
                <a16:creationId xmlns:a16="http://schemas.microsoft.com/office/drawing/2014/main" id="{991335C5-6F3F-4F71-82EF-69E05D090D16}"/>
              </a:ext>
            </a:extLst>
          </p:cNvPr>
          <p:cNvSpPr/>
          <p:nvPr/>
        </p:nvSpPr>
        <p:spPr>
          <a:xfrm>
            <a:off x="9940499" y="5590265"/>
            <a:ext cx="1579706" cy="551423"/>
          </a:xfrm>
          <a:prstGeom prst="roundRect">
            <a:avLst>
              <a:gd name="adj" fmla="val 22371"/>
            </a:avLst>
          </a:prstGeom>
          <a:noFill/>
          <a:ln w="28575">
            <a:noFill/>
          </a:ln>
        </p:spPr>
        <p:style>
          <a:lnRef idx="1">
            <a:schemeClr val="accent1"/>
          </a:lnRef>
          <a:fillRef idx="0">
            <a:schemeClr val="accent1"/>
          </a:fillRef>
          <a:effectRef idx="0">
            <a:schemeClr val="accent1"/>
          </a:effectRef>
          <a:fontRef idx="minor">
            <a:schemeClr val="tx1"/>
          </a:fontRef>
        </p:style>
        <p:txBody>
          <a:bodyPr wrap="square" rtlCol="0" anchor="ctr"/>
          <a:lstStyle/>
          <a:p>
            <a:r>
              <a:rPr kumimoji="1" lang="zh-CN" altLang="en-US" sz="1200" dirty="0">
                <a:solidFill>
                  <a:srgbClr val="1A1918"/>
                </a:solidFill>
                <a:latin typeface="微软雅黑" panose="020B0503020204020204" pitchFamily="34" charset="-122"/>
                <a:ea typeface="微软雅黑" panose="020B0503020204020204" pitchFamily="34" charset="-122"/>
              </a:rPr>
              <a:t>如未恰当治疗，喉部水肿进展迅速，从</a:t>
            </a:r>
            <a:r>
              <a:rPr kumimoji="1" lang="zh-CN" altLang="en-US" sz="1200" b="1" dirty="0">
                <a:solidFill>
                  <a:srgbClr val="1A1918"/>
                </a:solidFill>
                <a:latin typeface="微软雅黑" panose="020B0503020204020204" pitchFamily="34" charset="-122"/>
                <a:ea typeface="微软雅黑" panose="020B0503020204020204" pitchFamily="34" charset="-122"/>
              </a:rPr>
              <a:t>水肿发生到窒息的平均时间</a:t>
            </a:r>
            <a:r>
              <a:rPr kumimoji="1" lang="en-US" altLang="zh-CN" sz="1200" b="1" baseline="30000" dirty="0">
                <a:solidFill>
                  <a:srgbClr val="1A1918"/>
                </a:solidFill>
                <a:latin typeface="微软雅黑" panose="020B0503020204020204" pitchFamily="34" charset="-122"/>
                <a:ea typeface="微软雅黑" panose="020B0503020204020204" pitchFamily="34" charset="-122"/>
              </a:rPr>
              <a:t>5</a:t>
            </a:r>
            <a:endParaRPr kumimoji="1" lang="zh-CN" altLang="en-US" sz="1200" b="1" baseline="30000" dirty="0">
              <a:solidFill>
                <a:srgbClr val="1A1918"/>
              </a:solidFill>
              <a:latin typeface="微软雅黑" panose="020B0503020204020204" pitchFamily="34" charset="-122"/>
              <a:ea typeface="微软雅黑" panose="020B0503020204020204" pitchFamily="34" charset="-122"/>
            </a:endParaRPr>
          </a:p>
        </p:txBody>
      </p:sp>
      <p:grpSp>
        <p:nvGrpSpPr>
          <p:cNvPr id="73" name="Group 169">
            <a:extLst>
              <a:ext uri="{FF2B5EF4-FFF2-40B4-BE49-F238E27FC236}">
                <a16:creationId xmlns:a16="http://schemas.microsoft.com/office/drawing/2014/main" id="{F9EB5F7A-9AE1-4342-9996-7771043B4F55}"/>
              </a:ext>
            </a:extLst>
          </p:cNvPr>
          <p:cNvGrpSpPr/>
          <p:nvPr/>
        </p:nvGrpSpPr>
        <p:grpSpPr>
          <a:xfrm>
            <a:off x="6487042" y="4223159"/>
            <a:ext cx="360000" cy="360000"/>
            <a:chOff x="-6522377" y="5018376"/>
            <a:chExt cx="6670835" cy="6670835"/>
          </a:xfrm>
          <a:effectLst>
            <a:outerShdw blurRad="50800" dist="38100" dir="2700000" algn="tl" rotWithShape="0">
              <a:prstClr val="black">
                <a:alpha val="40000"/>
              </a:prstClr>
            </a:outerShdw>
          </a:effectLst>
        </p:grpSpPr>
        <p:sp>
          <p:nvSpPr>
            <p:cNvPr id="74" name="Freeform 63">
              <a:extLst>
                <a:ext uri="{FF2B5EF4-FFF2-40B4-BE49-F238E27FC236}">
                  <a16:creationId xmlns:a16="http://schemas.microsoft.com/office/drawing/2014/main" id="{1D970705-B003-4BC2-9804-0B01315C3F8F}"/>
                </a:ext>
              </a:extLst>
            </p:cNvPr>
            <p:cNvSpPr>
              <a:spLocks/>
            </p:cNvSpPr>
            <p:nvPr/>
          </p:nvSpPr>
          <p:spPr bwMode="auto">
            <a:xfrm>
              <a:off x="-6522377" y="5018376"/>
              <a:ext cx="6670835" cy="6670835"/>
            </a:xfrm>
            <a:custGeom>
              <a:avLst/>
              <a:gdLst/>
              <a:ahLst/>
              <a:cxnLst>
                <a:cxn ang="0">
                  <a:pos x="4778" y="2578"/>
                </a:cxn>
                <a:cxn ang="0">
                  <a:pos x="4736" y="2876"/>
                </a:cxn>
                <a:cxn ang="0">
                  <a:pos x="4660" y="3160"/>
                </a:cxn>
                <a:cxn ang="0">
                  <a:pos x="4550" y="3430"/>
                </a:cxn>
                <a:cxn ang="0">
                  <a:pos x="4408" y="3684"/>
                </a:cxn>
                <a:cxn ang="0">
                  <a:pos x="4238" y="3916"/>
                </a:cxn>
                <a:cxn ang="0">
                  <a:pos x="4044" y="4126"/>
                </a:cxn>
                <a:cxn ang="0">
                  <a:pos x="3824" y="4310"/>
                </a:cxn>
                <a:cxn ang="0">
                  <a:pos x="3584" y="4470"/>
                </a:cxn>
                <a:cxn ang="0">
                  <a:pos x="3324" y="4598"/>
                </a:cxn>
                <a:cxn ang="0">
                  <a:pos x="3048" y="4696"/>
                </a:cxn>
                <a:cxn ang="0">
                  <a:pos x="2756" y="4758"/>
                </a:cxn>
                <a:cxn ang="0">
                  <a:pos x="2454" y="4786"/>
                </a:cxn>
                <a:cxn ang="0">
                  <a:pos x="2208" y="4780"/>
                </a:cxn>
                <a:cxn ang="0">
                  <a:pos x="1910" y="4738"/>
                </a:cxn>
                <a:cxn ang="0">
                  <a:pos x="1626" y="4660"/>
                </a:cxn>
                <a:cxn ang="0">
                  <a:pos x="1356" y="4550"/>
                </a:cxn>
                <a:cxn ang="0">
                  <a:pos x="1102" y="4410"/>
                </a:cxn>
                <a:cxn ang="0">
                  <a:pos x="870" y="4240"/>
                </a:cxn>
                <a:cxn ang="0">
                  <a:pos x="660" y="4044"/>
                </a:cxn>
                <a:cxn ang="0">
                  <a:pos x="476" y="3826"/>
                </a:cxn>
                <a:cxn ang="0">
                  <a:pos x="316" y="3584"/>
                </a:cxn>
                <a:cxn ang="0">
                  <a:pos x="188" y="3324"/>
                </a:cxn>
                <a:cxn ang="0">
                  <a:pos x="90" y="3048"/>
                </a:cxn>
                <a:cxn ang="0">
                  <a:pos x="28" y="2758"/>
                </a:cxn>
                <a:cxn ang="0">
                  <a:pos x="0" y="2456"/>
                </a:cxn>
                <a:cxn ang="0">
                  <a:pos x="6" y="2210"/>
                </a:cxn>
                <a:cxn ang="0">
                  <a:pos x="48" y="1912"/>
                </a:cxn>
                <a:cxn ang="0">
                  <a:pos x="126" y="1626"/>
                </a:cxn>
                <a:cxn ang="0">
                  <a:pos x="236" y="1356"/>
                </a:cxn>
                <a:cxn ang="0">
                  <a:pos x="376" y="1104"/>
                </a:cxn>
                <a:cxn ang="0">
                  <a:pos x="546" y="872"/>
                </a:cxn>
                <a:cxn ang="0">
                  <a:pos x="742" y="662"/>
                </a:cxn>
                <a:cxn ang="0">
                  <a:pos x="960" y="476"/>
                </a:cxn>
                <a:cxn ang="0">
                  <a:pos x="1202" y="318"/>
                </a:cxn>
                <a:cxn ang="0">
                  <a:pos x="1462" y="188"/>
                </a:cxn>
                <a:cxn ang="0">
                  <a:pos x="1738" y="92"/>
                </a:cxn>
                <a:cxn ang="0">
                  <a:pos x="2028" y="28"/>
                </a:cxn>
                <a:cxn ang="0">
                  <a:pos x="2330" y="2"/>
                </a:cxn>
                <a:cxn ang="0">
                  <a:pos x="2576" y="8"/>
                </a:cxn>
                <a:cxn ang="0">
                  <a:pos x="2874" y="50"/>
                </a:cxn>
                <a:cxn ang="0">
                  <a:pos x="3160" y="126"/>
                </a:cxn>
                <a:cxn ang="0">
                  <a:pos x="3430" y="236"/>
                </a:cxn>
                <a:cxn ang="0">
                  <a:pos x="3682" y="378"/>
                </a:cxn>
                <a:cxn ang="0">
                  <a:pos x="3914" y="548"/>
                </a:cxn>
                <a:cxn ang="0">
                  <a:pos x="4124" y="742"/>
                </a:cxn>
                <a:cxn ang="0">
                  <a:pos x="4310" y="962"/>
                </a:cxn>
                <a:cxn ang="0">
                  <a:pos x="4468" y="1202"/>
                </a:cxn>
                <a:cxn ang="0">
                  <a:pos x="4598" y="1462"/>
                </a:cxn>
                <a:cxn ang="0">
                  <a:pos x="4694" y="1738"/>
                </a:cxn>
                <a:cxn ang="0">
                  <a:pos x="4758" y="2030"/>
                </a:cxn>
                <a:cxn ang="0">
                  <a:pos x="4784" y="2332"/>
                </a:cxn>
              </a:cxnLst>
              <a:rect l="0" t="0" r="r" b="b"/>
              <a:pathLst>
                <a:path w="4786" h="4786">
                  <a:moveTo>
                    <a:pt x="4786" y="2394"/>
                  </a:moveTo>
                  <a:lnTo>
                    <a:pt x="4786" y="2394"/>
                  </a:lnTo>
                  <a:lnTo>
                    <a:pt x="4784" y="2456"/>
                  </a:lnTo>
                  <a:lnTo>
                    <a:pt x="4782" y="2516"/>
                  </a:lnTo>
                  <a:lnTo>
                    <a:pt x="4778" y="2578"/>
                  </a:lnTo>
                  <a:lnTo>
                    <a:pt x="4772" y="2638"/>
                  </a:lnTo>
                  <a:lnTo>
                    <a:pt x="4766" y="2698"/>
                  </a:lnTo>
                  <a:lnTo>
                    <a:pt x="4758" y="2758"/>
                  </a:lnTo>
                  <a:lnTo>
                    <a:pt x="4748" y="2818"/>
                  </a:lnTo>
                  <a:lnTo>
                    <a:pt x="4736" y="2876"/>
                  </a:lnTo>
                  <a:lnTo>
                    <a:pt x="4724" y="2934"/>
                  </a:lnTo>
                  <a:lnTo>
                    <a:pt x="4710" y="2992"/>
                  </a:lnTo>
                  <a:lnTo>
                    <a:pt x="4694" y="3048"/>
                  </a:lnTo>
                  <a:lnTo>
                    <a:pt x="4678" y="3106"/>
                  </a:lnTo>
                  <a:lnTo>
                    <a:pt x="4660" y="3160"/>
                  </a:lnTo>
                  <a:lnTo>
                    <a:pt x="4640" y="3216"/>
                  </a:lnTo>
                  <a:lnTo>
                    <a:pt x="4620" y="3270"/>
                  </a:lnTo>
                  <a:lnTo>
                    <a:pt x="4598" y="3324"/>
                  </a:lnTo>
                  <a:lnTo>
                    <a:pt x="4574" y="3378"/>
                  </a:lnTo>
                  <a:lnTo>
                    <a:pt x="4550" y="3430"/>
                  </a:lnTo>
                  <a:lnTo>
                    <a:pt x="4524" y="3482"/>
                  </a:lnTo>
                  <a:lnTo>
                    <a:pt x="4496" y="3534"/>
                  </a:lnTo>
                  <a:lnTo>
                    <a:pt x="4468" y="3584"/>
                  </a:lnTo>
                  <a:lnTo>
                    <a:pt x="4438" y="3634"/>
                  </a:lnTo>
                  <a:lnTo>
                    <a:pt x="4408" y="3684"/>
                  </a:lnTo>
                  <a:lnTo>
                    <a:pt x="4376" y="3732"/>
                  </a:lnTo>
                  <a:lnTo>
                    <a:pt x="4344" y="3778"/>
                  </a:lnTo>
                  <a:lnTo>
                    <a:pt x="4310" y="3826"/>
                  </a:lnTo>
                  <a:lnTo>
                    <a:pt x="4274" y="3870"/>
                  </a:lnTo>
                  <a:lnTo>
                    <a:pt x="4238" y="3916"/>
                  </a:lnTo>
                  <a:lnTo>
                    <a:pt x="4202" y="3960"/>
                  </a:lnTo>
                  <a:lnTo>
                    <a:pt x="4164" y="4002"/>
                  </a:lnTo>
                  <a:lnTo>
                    <a:pt x="4124" y="4044"/>
                  </a:lnTo>
                  <a:lnTo>
                    <a:pt x="4084" y="4086"/>
                  </a:lnTo>
                  <a:lnTo>
                    <a:pt x="4044" y="4126"/>
                  </a:lnTo>
                  <a:lnTo>
                    <a:pt x="4002" y="4164"/>
                  </a:lnTo>
                  <a:lnTo>
                    <a:pt x="3958" y="4202"/>
                  </a:lnTo>
                  <a:lnTo>
                    <a:pt x="3914" y="4240"/>
                  </a:lnTo>
                  <a:lnTo>
                    <a:pt x="3870" y="4276"/>
                  </a:lnTo>
                  <a:lnTo>
                    <a:pt x="3824" y="4310"/>
                  </a:lnTo>
                  <a:lnTo>
                    <a:pt x="3778" y="4344"/>
                  </a:lnTo>
                  <a:lnTo>
                    <a:pt x="3730" y="4378"/>
                  </a:lnTo>
                  <a:lnTo>
                    <a:pt x="3682" y="4410"/>
                  </a:lnTo>
                  <a:lnTo>
                    <a:pt x="3634" y="4440"/>
                  </a:lnTo>
                  <a:lnTo>
                    <a:pt x="3584" y="4470"/>
                  </a:lnTo>
                  <a:lnTo>
                    <a:pt x="3534" y="4498"/>
                  </a:lnTo>
                  <a:lnTo>
                    <a:pt x="3482" y="4524"/>
                  </a:lnTo>
                  <a:lnTo>
                    <a:pt x="3430" y="4550"/>
                  </a:lnTo>
                  <a:lnTo>
                    <a:pt x="3378" y="4574"/>
                  </a:lnTo>
                  <a:lnTo>
                    <a:pt x="3324" y="4598"/>
                  </a:lnTo>
                  <a:lnTo>
                    <a:pt x="3270" y="4620"/>
                  </a:lnTo>
                  <a:lnTo>
                    <a:pt x="3216" y="4642"/>
                  </a:lnTo>
                  <a:lnTo>
                    <a:pt x="3160" y="4660"/>
                  </a:lnTo>
                  <a:lnTo>
                    <a:pt x="3104" y="4678"/>
                  </a:lnTo>
                  <a:lnTo>
                    <a:pt x="3048" y="4696"/>
                  </a:lnTo>
                  <a:lnTo>
                    <a:pt x="2990" y="4712"/>
                  </a:lnTo>
                  <a:lnTo>
                    <a:pt x="2932" y="4726"/>
                  </a:lnTo>
                  <a:lnTo>
                    <a:pt x="2874" y="4738"/>
                  </a:lnTo>
                  <a:lnTo>
                    <a:pt x="2816" y="4748"/>
                  </a:lnTo>
                  <a:lnTo>
                    <a:pt x="2756" y="4758"/>
                  </a:lnTo>
                  <a:lnTo>
                    <a:pt x="2698" y="4768"/>
                  </a:lnTo>
                  <a:lnTo>
                    <a:pt x="2638" y="4774"/>
                  </a:lnTo>
                  <a:lnTo>
                    <a:pt x="2576" y="4780"/>
                  </a:lnTo>
                  <a:lnTo>
                    <a:pt x="2516" y="4784"/>
                  </a:lnTo>
                  <a:lnTo>
                    <a:pt x="2454" y="4786"/>
                  </a:lnTo>
                  <a:lnTo>
                    <a:pt x="2392" y="4786"/>
                  </a:lnTo>
                  <a:lnTo>
                    <a:pt x="2392" y="4786"/>
                  </a:lnTo>
                  <a:lnTo>
                    <a:pt x="2330" y="4786"/>
                  </a:lnTo>
                  <a:lnTo>
                    <a:pt x="2270" y="4784"/>
                  </a:lnTo>
                  <a:lnTo>
                    <a:pt x="2208" y="4780"/>
                  </a:lnTo>
                  <a:lnTo>
                    <a:pt x="2148" y="4774"/>
                  </a:lnTo>
                  <a:lnTo>
                    <a:pt x="2088" y="4768"/>
                  </a:lnTo>
                  <a:lnTo>
                    <a:pt x="2028" y="4758"/>
                  </a:lnTo>
                  <a:lnTo>
                    <a:pt x="1968" y="4748"/>
                  </a:lnTo>
                  <a:lnTo>
                    <a:pt x="1910" y="4738"/>
                  </a:lnTo>
                  <a:lnTo>
                    <a:pt x="1852" y="4726"/>
                  </a:lnTo>
                  <a:lnTo>
                    <a:pt x="1794" y="4712"/>
                  </a:lnTo>
                  <a:lnTo>
                    <a:pt x="1738" y="4696"/>
                  </a:lnTo>
                  <a:lnTo>
                    <a:pt x="1680" y="4678"/>
                  </a:lnTo>
                  <a:lnTo>
                    <a:pt x="1626" y="4660"/>
                  </a:lnTo>
                  <a:lnTo>
                    <a:pt x="1570" y="4642"/>
                  </a:lnTo>
                  <a:lnTo>
                    <a:pt x="1516" y="4620"/>
                  </a:lnTo>
                  <a:lnTo>
                    <a:pt x="1462" y="4598"/>
                  </a:lnTo>
                  <a:lnTo>
                    <a:pt x="1408" y="4574"/>
                  </a:lnTo>
                  <a:lnTo>
                    <a:pt x="1356" y="4550"/>
                  </a:lnTo>
                  <a:lnTo>
                    <a:pt x="1304" y="4524"/>
                  </a:lnTo>
                  <a:lnTo>
                    <a:pt x="1252" y="4498"/>
                  </a:lnTo>
                  <a:lnTo>
                    <a:pt x="1202" y="4470"/>
                  </a:lnTo>
                  <a:lnTo>
                    <a:pt x="1152" y="4440"/>
                  </a:lnTo>
                  <a:lnTo>
                    <a:pt x="1102" y="4410"/>
                  </a:lnTo>
                  <a:lnTo>
                    <a:pt x="1054" y="4378"/>
                  </a:lnTo>
                  <a:lnTo>
                    <a:pt x="1008" y="4344"/>
                  </a:lnTo>
                  <a:lnTo>
                    <a:pt x="960" y="4310"/>
                  </a:lnTo>
                  <a:lnTo>
                    <a:pt x="916" y="4276"/>
                  </a:lnTo>
                  <a:lnTo>
                    <a:pt x="870" y="4240"/>
                  </a:lnTo>
                  <a:lnTo>
                    <a:pt x="826" y="4202"/>
                  </a:lnTo>
                  <a:lnTo>
                    <a:pt x="784" y="4164"/>
                  </a:lnTo>
                  <a:lnTo>
                    <a:pt x="742" y="4126"/>
                  </a:lnTo>
                  <a:lnTo>
                    <a:pt x="700" y="4086"/>
                  </a:lnTo>
                  <a:lnTo>
                    <a:pt x="660" y="4044"/>
                  </a:lnTo>
                  <a:lnTo>
                    <a:pt x="622" y="4002"/>
                  </a:lnTo>
                  <a:lnTo>
                    <a:pt x="584" y="3960"/>
                  </a:lnTo>
                  <a:lnTo>
                    <a:pt x="546" y="3916"/>
                  </a:lnTo>
                  <a:lnTo>
                    <a:pt x="510" y="3870"/>
                  </a:lnTo>
                  <a:lnTo>
                    <a:pt x="476" y="3826"/>
                  </a:lnTo>
                  <a:lnTo>
                    <a:pt x="442" y="3778"/>
                  </a:lnTo>
                  <a:lnTo>
                    <a:pt x="408" y="3732"/>
                  </a:lnTo>
                  <a:lnTo>
                    <a:pt x="376" y="3684"/>
                  </a:lnTo>
                  <a:lnTo>
                    <a:pt x="346" y="3634"/>
                  </a:lnTo>
                  <a:lnTo>
                    <a:pt x="316" y="3584"/>
                  </a:lnTo>
                  <a:lnTo>
                    <a:pt x="288" y="3534"/>
                  </a:lnTo>
                  <a:lnTo>
                    <a:pt x="262" y="3482"/>
                  </a:lnTo>
                  <a:lnTo>
                    <a:pt x="236" y="3430"/>
                  </a:lnTo>
                  <a:lnTo>
                    <a:pt x="212" y="3378"/>
                  </a:lnTo>
                  <a:lnTo>
                    <a:pt x="188" y="3324"/>
                  </a:lnTo>
                  <a:lnTo>
                    <a:pt x="166" y="3270"/>
                  </a:lnTo>
                  <a:lnTo>
                    <a:pt x="144" y="3216"/>
                  </a:lnTo>
                  <a:lnTo>
                    <a:pt x="126" y="3160"/>
                  </a:lnTo>
                  <a:lnTo>
                    <a:pt x="108" y="3106"/>
                  </a:lnTo>
                  <a:lnTo>
                    <a:pt x="90" y="3048"/>
                  </a:lnTo>
                  <a:lnTo>
                    <a:pt x="74" y="2992"/>
                  </a:lnTo>
                  <a:lnTo>
                    <a:pt x="60" y="2934"/>
                  </a:lnTo>
                  <a:lnTo>
                    <a:pt x="48" y="2876"/>
                  </a:lnTo>
                  <a:lnTo>
                    <a:pt x="38" y="2818"/>
                  </a:lnTo>
                  <a:lnTo>
                    <a:pt x="28" y="2758"/>
                  </a:lnTo>
                  <a:lnTo>
                    <a:pt x="18" y="2698"/>
                  </a:lnTo>
                  <a:lnTo>
                    <a:pt x="12" y="2638"/>
                  </a:lnTo>
                  <a:lnTo>
                    <a:pt x="6" y="2578"/>
                  </a:lnTo>
                  <a:lnTo>
                    <a:pt x="2" y="2516"/>
                  </a:lnTo>
                  <a:lnTo>
                    <a:pt x="0" y="2456"/>
                  </a:lnTo>
                  <a:lnTo>
                    <a:pt x="0" y="2394"/>
                  </a:lnTo>
                  <a:lnTo>
                    <a:pt x="0" y="2394"/>
                  </a:lnTo>
                  <a:lnTo>
                    <a:pt x="0" y="2332"/>
                  </a:lnTo>
                  <a:lnTo>
                    <a:pt x="2" y="2270"/>
                  </a:lnTo>
                  <a:lnTo>
                    <a:pt x="6" y="2210"/>
                  </a:lnTo>
                  <a:lnTo>
                    <a:pt x="12" y="2148"/>
                  </a:lnTo>
                  <a:lnTo>
                    <a:pt x="18" y="2088"/>
                  </a:lnTo>
                  <a:lnTo>
                    <a:pt x="28" y="2030"/>
                  </a:lnTo>
                  <a:lnTo>
                    <a:pt x="38" y="1970"/>
                  </a:lnTo>
                  <a:lnTo>
                    <a:pt x="48" y="1912"/>
                  </a:lnTo>
                  <a:lnTo>
                    <a:pt x="60" y="1854"/>
                  </a:lnTo>
                  <a:lnTo>
                    <a:pt x="74" y="1796"/>
                  </a:lnTo>
                  <a:lnTo>
                    <a:pt x="90" y="1738"/>
                  </a:lnTo>
                  <a:lnTo>
                    <a:pt x="108" y="1682"/>
                  </a:lnTo>
                  <a:lnTo>
                    <a:pt x="126" y="1626"/>
                  </a:lnTo>
                  <a:lnTo>
                    <a:pt x="144" y="1570"/>
                  </a:lnTo>
                  <a:lnTo>
                    <a:pt x="166" y="1516"/>
                  </a:lnTo>
                  <a:lnTo>
                    <a:pt x="188" y="1462"/>
                  </a:lnTo>
                  <a:lnTo>
                    <a:pt x="212" y="1408"/>
                  </a:lnTo>
                  <a:lnTo>
                    <a:pt x="236" y="1356"/>
                  </a:lnTo>
                  <a:lnTo>
                    <a:pt x="262" y="1304"/>
                  </a:lnTo>
                  <a:lnTo>
                    <a:pt x="288" y="1252"/>
                  </a:lnTo>
                  <a:lnTo>
                    <a:pt x="316" y="1202"/>
                  </a:lnTo>
                  <a:lnTo>
                    <a:pt x="346" y="1152"/>
                  </a:lnTo>
                  <a:lnTo>
                    <a:pt x="376" y="1104"/>
                  </a:lnTo>
                  <a:lnTo>
                    <a:pt x="408" y="1056"/>
                  </a:lnTo>
                  <a:lnTo>
                    <a:pt x="442" y="1008"/>
                  </a:lnTo>
                  <a:lnTo>
                    <a:pt x="476" y="962"/>
                  </a:lnTo>
                  <a:lnTo>
                    <a:pt x="510" y="916"/>
                  </a:lnTo>
                  <a:lnTo>
                    <a:pt x="546" y="872"/>
                  </a:lnTo>
                  <a:lnTo>
                    <a:pt x="584" y="828"/>
                  </a:lnTo>
                  <a:lnTo>
                    <a:pt x="622" y="784"/>
                  </a:lnTo>
                  <a:lnTo>
                    <a:pt x="660" y="742"/>
                  </a:lnTo>
                  <a:lnTo>
                    <a:pt x="700" y="702"/>
                  </a:lnTo>
                  <a:lnTo>
                    <a:pt x="742" y="662"/>
                  </a:lnTo>
                  <a:lnTo>
                    <a:pt x="784" y="622"/>
                  </a:lnTo>
                  <a:lnTo>
                    <a:pt x="826" y="584"/>
                  </a:lnTo>
                  <a:lnTo>
                    <a:pt x="870" y="548"/>
                  </a:lnTo>
                  <a:lnTo>
                    <a:pt x="916" y="512"/>
                  </a:lnTo>
                  <a:lnTo>
                    <a:pt x="960" y="476"/>
                  </a:lnTo>
                  <a:lnTo>
                    <a:pt x="1008" y="442"/>
                  </a:lnTo>
                  <a:lnTo>
                    <a:pt x="1054" y="410"/>
                  </a:lnTo>
                  <a:lnTo>
                    <a:pt x="1102" y="378"/>
                  </a:lnTo>
                  <a:lnTo>
                    <a:pt x="1152" y="348"/>
                  </a:lnTo>
                  <a:lnTo>
                    <a:pt x="1202" y="318"/>
                  </a:lnTo>
                  <a:lnTo>
                    <a:pt x="1252" y="290"/>
                  </a:lnTo>
                  <a:lnTo>
                    <a:pt x="1304" y="262"/>
                  </a:lnTo>
                  <a:lnTo>
                    <a:pt x="1356" y="236"/>
                  </a:lnTo>
                  <a:lnTo>
                    <a:pt x="1408" y="212"/>
                  </a:lnTo>
                  <a:lnTo>
                    <a:pt x="1462" y="188"/>
                  </a:lnTo>
                  <a:lnTo>
                    <a:pt x="1516" y="166"/>
                  </a:lnTo>
                  <a:lnTo>
                    <a:pt x="1570" y="146"/>
                  </a:lnTo>
                  <a:lnTo>
                    <a:pt x="1626" y="126"/>
                  </a:lnTo>
                  <a:lnTo>
                    <a:pt x="1680" y="108"/>
                  </a:lnTo>
                  <a:lnTo>
                    <a:pt x="1738" y="92"/>
                  </a:lnTo>
                  <a:lnTo>
                    <a:pt x="1794" y="76"/>
                  </a:lnTo>
                  <a:lnTo>
                    <a:pt x="1852" y="62"/>
                  </a:lnTo>
                  <a:lnTo>
                    <a:pt x="1910" y="50"/>
                  </a:lnTo>
                  <a:lnTo>
                    <a:pt x="1968" y="38"/>
                  </a:lnTo>
                  <a:lnTo>
                    <a:pt x="2028" y="28"/>
                  </a:lnTo>
                  <a:lnTo>
                    <a:pt x="2088" y="20"/>
                  </a:lnTo>
                  <a:lnTo>
                    <a:pt x="2148" y="14"/>
                  </a:lnTo>
                  <a:lnTo>
                    <a:pt x="2208" y="8"/>
                  </a:lnTo>
                  <a:lnTo>
                    <a:pt x="2270" y="4"/>
                  </a:lnTo>
                  <a:lnTo>
                    <a:pt x="2330" y="2"/>
                  </a:lnTo>
                  <a:lnTo>
                    <a:pt x="2392" y="0"/>
                  </a:lnTo>
                  <a:lnTo>
                    <a:pt x="2392" y="0"/>
                  </a:lnTo>
                  <a:lnTo>
                    <a:pt x="2454" y="2"/>
                  </a:lnTo>
                  <a:lnTo>
                    <a:pt x="2516" y="4"/>
                  </a:lnTo>
                  <a:lnTo>
                    <a:pt x="2576" y="8"/>
                  </a:lnTo>
                  <a:lnTo>
                    <a:pt x="2638" y="14"/>
                  </a:lnTo>
                  <a:lnTo>
                    <a:pt x="2698" y="20"/>
                  </a:lnTo>
                  <a:lnTo>
                    <a:pt x="2756" y="28"/>
                  </a:lnTo>
                  <a:lnTo>
                    <a:pt x="2816" y="38"/>
                  </a:lnTo>
                  <a:lnTo>
                    <a:pt x="2874" y="50"/>
                  </a:lnTo>
                  <a:lnTo>
                    <a:pt x="2932" y="62"/>
                  </a:lnTo>
                  <a:lnTo>
                    <a:pt x="2990" y="76"/>
                  </a:lnTo>
                  <a:lnTo>
                    <a:pt x="3048" y="92"/>
                  </a:lnTo>
                  <a:lnTo>
                    <a:pt x="3104" y="108"/>
                  </a:lnTo>
                  <a:lnTo>
                    <a:pt x="3160" y="126"/>
                  </a:lnTo>
                  <a:lnTo>
                    <a:pt x="3216" y="146"/>
                  </a:lnTo>
                  <a:lnTo>
                    <a:pt x="3270" y="166"/>
                  </a:lnTo>
                  <a:lnTo>
                    <a:pt x="3324" y="188"/>
                  </a:lnTo>
                  <a:lnTo>
                    <a:pt x="3378" y="212"/>
                  </a:lnTo>
                  <a:lnTo>
                    <a:pt x="3430" y="236"/>
                  </a:lnTo>
                  <a:lnTo>
                    <a:pt x="3482" y="262"/>
                  </a:lnTo>
                  <a:lnTo>
                    <a:pt x="3534" y="290"/>
                  </a:lnTo>
                  <a:lnTo>
                    <a:pt x="3584" y="318"/>
                  </a:lnTo>
                  <a:lnTo>
                    <a:pt x="3634" y="348"/>
                  </a:lnTo>
                  <a:lnTo>
                    <a:pt x="3682" y="378"/>
                  </a:lnTo>
                  <a:lnTo>
                    <a:pt x="3730" y="410"/>
                  </a:lnTo>
                  <a:lnTo>
                    <a:pt x="3778" y="442"/>
                  </a:lnTo>
                  <a:lnTo>
                    <a:pt x="3824" y="476"/>
                  </a:lnTo>
                  <a:lnTo>
                    <a:pt x="3870" y="512"/>
                  </a:lnTo>
                  <a:lnTo>
                    <a:pt x="3914" y="548"/>
                  </a:lnTo>
                  <a:lnTo>
                    <a:pt x="3958" y="584"/>
                  </a:lnTo>
                  <a:lnTo>
                    <a:pt x="4002" y="622"/>
                  </a:lnTo>
                  <a:lnTo>
                    <a:pt x="4044" y="662"/>
                  </a:lnTo>
                  <a:lnTo>
                    <a:pt x="4084" y="702"/>
                  </a:lnTo>
                  <a:lnTo>
                    <a:pt x="4124" y="742"/>
                  </a:lnTo>
                  <a:lnTo>
                    <a:pt x="4164" y="784"/>
                  </a:lnTo>
                  <a:lnTo>
                    <a:pt x="4202" y="828"/>
                  </a:lnTo>
                  <a:lnTo>
                    <a:pt x="4238" y="872"/>
                  </a:lnTo>
                  <a:lnTo>
                    <a:pt x="4274" y="916"/>
                  </a:lnTo>
                  <a:lnTo>
                    <a:pt x="4310" y="962"/>
                  </a:lnTo>
                  <a:lnTo>
                    <a:pt x="4344" y="1008"/>
                  </a:lnTo>
                  <a:lnTo>
                    <a:pt x="4376" y="1056"/>
                  </a:lnTo>
                  <a:lnTo>
                    <a:pt x="4408" y="1104"/>
                  </a:lnTo>
                  <a:lnTo>
                    <a:pt x="4438" y="1152"/>
                  </a:lnTo>
                  <a:lnTo>
                    <a:pt x="4468" y="1202"/>
                  </a:lnTo>
                  <a:lnTo>
                    <a:pt x="4496" y="1252"/>
                  </a:lnTo>
                  <a:lnTo>
                    <a:pt x="4524" y="1304"/>
                  </a:lnTo>
                  <a:lnTo>
                    <a:pt x="4550" y="1356"/>
                  </a:lnTo>
                  <a:lnTo>
                    <a:pt x="4574" y="1408"/>
                  </a:lnTo>
                  <a:lnTo>
                    <a:pt x="4598" y="1462"/>
                  </a:lnTo>
                  <a:lnTo>
                    <a:pt x="4620" y="1516"/>
                  </a:lnTo>
                  <a:lnTo>
                    <a:pt x="4640" y="1570"/>
                  </a:lnTo>
                  <a:lnTo>
                    <a:pt x="4660" y="1626"/>
                  </a:lnTo>
                  <a:lnTo>
                    <a:pt x="4678" y="1682"/>
                  </a:lnTo>
                  <a:lnTo>
                    <a:pt x="4694" y="1738"/>
                  </a:lnTo>
                  <a:lnTo>
                    <a:pt x="4710" y="1796"/>
                  </a:lnTo>
                  <a:lnTo>
                    <a:pt x="4724" y="1854"/>
                  </a:lnTo>
                  <a:lnTo>
                    <a:pt x="4736" y="1912"/>
                  </a:lnTo>
                  <a:lnTo>
                    <a:pt x="4748" y="1970"/>
                  </a:lnTo>
                  <a:lnTo>
                    <a:pt x="4758" y="2030"/>
                  </a:lnTo>
                  <a:lnTo>
                    <a:pt x="4766" y="2088"/>
                  </a:lnTo>
                  <a:lnTo>
                    <a:pt x="4772" y="2148"/>
                  </a:lnTo>
                  <a:lnTo>
                    <a:pt x="4778" y="2210"/>
                  </a:lnTo>
                  <a:lnTo>
                    <a:pt x="4782" y="2270"/>
                  </a:lnTo>
                  <a:lnTo>
                    <a:pt x="4784" y="2332"/>
                  </a:lnTo>
                  <a:lnTo>
                    <a:pt x="4786" y="2394"/>
                  </a:lnTo>
                  <a:lnTo>
                    <a:pt x="4786" y="2394"/>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5" name="Freeform 64">
              <a:extLst>
                <a:ext uri="{FF2B5EF4-FFF2-40B4-BE49-F238E27FC236}">
                  <a16:creationId xmlns:a16="http://schemas.microsoft.com/office/drawing/2014/main" id="{F343FFD3-F86A-4CDA-AE30-71245546A3E4}"/>
                </a:ext>
              </a:extLst>
            </p:cNvPr>
            <p:cNvSpPr>
              <a:spLocks noEditPoints="1"/>
            </p:cNvSpPr>
            <p:nvPr/>
          </p:nvSpPr>
          <p:spPr bwMode="auto">
            <a:xfrm>
              <a:off x="-5154613" y="6078538"/>
              <a:ext cx="4137025" cy="4756150"/>
            </a:xfrm>
            <a:custGeom>
              <a:avLst/>
              <a:gdLst/>
              <a:ahLst/>
              <a:cxnLst>
                <a:cxn ang="0">
                  <a:pos x="2452" y="2232"/>
                </a:cxn>
                <a:cxn ang="0">
                  <a:pos x="2398" y="1916"/>
                </a:cxn>
                <a:cxn ang="0">
                  <a:pos x="2358" y="1812"/>
                </a:cxn>
                <a:cxn ang="0">
                  <a:pos x="2224" y="1692"/>
                </a:cxn>
                <a:cxn ang="0">
                  <a:pos x="2000" y="1614"/>
                </a:cxn>
                <a:cxn ang="0">
                  <a:pos x="1720" y="1554"/>
                </a:cxn>
                <a:cxn ang="0">
                  <a:pos x="1546" y="1444"/>
                </a:cxn>
                <a:cxn ang="0">
                  <a:pos x="1574" y="1196"/>
                </a:cxn>
                <a:cxn ang="0">
                  <a:pos x="1676" y="922"/>
                </a:cxn>
                <a:cxn ang="0">
                  <a:pos x="1724" y="928"/>
                </a:cxn>
                <a:cxn ang="0">
                  <a:pos x="1748" y="892"/>
                </a:cxn>
                <a:cxn ang="0">
                  <a:pos x="1752" y="640"/>
                </a:cxn>
                <a:cxn ang="0">
                  <a:pos x="1734" y="590"/>
                </a:cxn>
                <a:cxn ang="0">
                  <a:pos x="1710" y="314"/>
                </a:cxn>
                <a:cxn ang="0">
                  <a:pos x="1662" y="220"/>
                </a:cxn>
                <a:cxn ang="0">
                  <a:pos x="1518" y="80"/>
                </a:cxn>
                <a:cxn ang="0">
                  <a:pos x="1314" y="8"/>
                </a:cxn>
                <a:cxn ang="0">
                  <a:pos x="1228" y="0"/>
                </a:cxn>
                <a:cxn ang="0">
                  <a:pos x="1064" y="26"/>
                </a:cxn>
                <a:cxn ang="0">
                  <a:pos x="854" y="150"/>
                </a:cxn>
                <a:cxn ang="0">
                  <a:pos x="760" y="284"/>
                </a:cxn>
                <a:cxn ang="0">
                  <a:pos x="730" y="424"/>
                </a:cxn>
                <a:cxn ang="0">
                  <a:pos x="726" y="632"/>
                </a:cxn>
                <a:cxn ang="0">
                  <a:pos x="694" y="664"/>
                </a:cxn>
                <a:cxn ang="0">
                  <a:pos x="720" y="916"/>
                </a:cxn>
                <a:cxn ang="0">
                  <a:pos x="766" y="930"/>
                </a:cxn>
                <a:cxn ang="0">
                  <a:pos x="840" y="1090"/>
                </a:cxn>
                <a:cxn ang="0">
                  <a:pos x="930" y="1282"/>
                </a:cxn>
                <a:cxn ang="0">
                  <a:pos x="872" y="1498"/>
                </a:cxn>
                <a:cxn ang="0">
                  <a:pos x="610" y="1586"/>
                </a:cxn>
                <a:cxn ang="0">
                  <a:pos x="316" y="1654"/>
                </a:cxn>
                <a:cxn ang="0">
                  <a:pos x="152" y="1752"/>
                </a:cxn>
                <a:cxn ang="0">
                  <a:pos x="70" y="1880"/>
                </a:cxn>
                <a:cxn ang="0">
                  <a:pos x="26" y="2046"/>
                </a:cxn>
                <a:cxn ang="0">
                  <a:pos x="0" y="2416"/>
                </a:cxn>
                <a:cxn ang="0">
                  <a:pos x="34" y="2504"/>
                </a:cxn>
                <a:cxn ang="0">
                  <a:pos x="138" y="2576"/>
                </a:cxn>
                <a:cxn ang="0">
                  <a:pos x="504" y="2676"/>
                </a:cxn>
                <a:cxn ang="0">
                  <a:pos x="764" y="2772"/>
                </a:cxn>
                <a:cxn ang="0">
                  <a:pos x="868" y="2916"/>
                </a:cxn>
                <a:cxn ang="0">
                  <a:pos x="1030" y="2992"/>
                </a:cxn>
                <a:cxn ang="0">
                  <a:pos x="2326" y="2990"/>
                </a:cxn>
                <a:cxn ang="0">
                  <a:pos x="2502" y="2894"/>
                </a:cxn>
                <a:cxn ang="0">
                  <a:pos x="2598" y="2718"/>
                </a:cxn>
                <a:cxn ang="0">
                  <a:pos x="2594" y="2558"/>
                </a:cxn>
                <a:cxn ang="0">
                  <a:pos x="2528" y="2428"/>
                </a:cxn>
                <a:cxn ang="0">
                  <a:pos x="1004" y="2930"/>
                </a:cxn>
                <a:cxn ang="0">
                  <a:pos x="862" y="2836"/>
                </a:cxn>
                <a:cxn ang="0">
                  <a:pos x="796" y="2676"/>
                </a:cxn>
                <a:cxn ang="0">
                  <a:pos x="818" y="2532"/>
                </a:cxn>
                <a:cxn ang="0">
                  <a:pos x="926" y="2400"/>
                </a:cxn>
                <a:cxn ang="0">
                  <a:pos x="1092" y="2350"/>
                </a:cxn>
                <a:cxn ang="0">
                  <a:pos x="2476" y="2448"/>
                </a:cxn>
                <a:cxn ang="0">
                  <a:pos x="2548" y="2590"/>
                </a:cxn>
                <a:cxn ang="0">
                  <a:pos x="2538" y="2734"/>
                </a:cxn>
                <a:cxn ang="0">
                  <a:pos x="2444" y="2876"/>
                </a:cxn>
                <a:cxn ang="0">
                  <a:pos x="2286" y="2942"/>
                </a:cxn>
              </a:cxnLst>
              <a:rect l="0" t="0" r="r" b="b"/>
              <a:pathLst>
                <a:path w="2606" h="2996">
                  <a:moveTo>
                    <a:pt x="2528" y="2428"/>
                  </a:moveTo>
                  <a:lnTo>
                    <a:pt x="2528" y="2428"/>
                  </a:lnTo>
                  <a:lnTo>
                    <a:pt x="2518" y="2414"/>
                  </a:lnTo>
                  <a:lnTo>
                    <a:pt x="2458" y="2332"/>
                  </a:lnTo>
                  <a:lnTo>
                    <a:pt x="2458" y="2332"/>
                  </a:lnTo>
                  <a:lnTo>
                    <a:pt x="2452" y="2232"/>
                  </a:lnTo>
                  <a:lnTo>
                    <a:pt x="2446" y="2150"/>
                  </a:lnTo>
                  <a:lnTo>
                    <a:pt x="2438" y="2084"/>
                  </a:lnTo>
                  <a:lnTo>
                    <a:pt x="2430" y="2032"/>
                  </a:lnTo>
                  <a:lnTo>
                    <a:pt x="2422" y="1992"/>
                  </a:lnTo>
                  <a:lnTo>
                    <a:pt x="2414" y="1960"/>
                  </a:lnTo>
                  <a:lnTo>
                    <a:pt x="2398" y="1916"/>
                  </a:lnTo>
                  <a:lnTo>
                    <a:pt x="2398" y="1916"/>
                  </a:lnTo>
                  <a:lnTo>
                    <a:pt x="2394" y="1902"/>
                  </a:lnTo>
                  <a:lnTo>
                    <a:pt x="2390" y="1880"/>
                  </a:lnTo>
                  <a:lnTo>
                    <a:pt x="2378" y="1848"/>
                  </a:lnTo>
                  <a:lnTo>
                    <a:pt x="2370" y="1830"/>
                  </a:lnTo>
                  <a:lnTo>
                    <a:pt x="2358" y="1812"/>
                  </a:lnTo>
                  <a:lnTo>
                    <a:pt x="2346" y="1792"/>
                  </a:lnTo>
                  <a:lnTo>
                    <a:pt x="2328" y="1772"/>
                  </a:lnTo>
                  <a:lnTo>
                    <a:pt x="2308" y="1752"/>
                  </a:lnTo>
                  <a:lnTo>
                    <a:pt x="2284" y="1732"/>
                  </a:lnTo>
                  <a:lnTo>
                    <a:pt x="2256" y="1712"/>
                  </a:lnTo>
                  <a:lnTo>
                    <a:pt x="2224" y="1692"/>
                  </a:lnTo>
                  <a:lnTo>
                    <a:pt x="2186" y="1672"/>
                  </a:lnTo>
                  <a:lnTo>
                    <a:pt x="2144" y="1654"/>
                  </a:lnTo>
                  <a:lnTo>
                    <a:pt x="2144" y="1654"/>
                  </a:lnTo>
                  <a:lnTo>
                    <a:pt x="2098" y="1638"/>
                  </a:lnTo>
                  <a:lnTo>
                    <a:pt x="2050" y="1626"/>
                  </a:lnTo>
                  <a:lnTo>
                    <a:pt x="2000" y="1614"/>
                  </a:lnTo>
                  <a:lnTo>
                    <a:pt x="1950" y="1604"/>
                  </a:lnTo>
                  <a:lnTo>
                    <a:pt x="1846" y="1584"/>
                  </a:lnTo>
                  <a:lnTo>
                    <a:pt x="1794" y="1574"/>
                  </a:lnTo>
                  <a:lnTo>
                    <a:pt x="1742" y="1560"/>
                  </a:lnTo>
                  <a:lnTo>
                    <a:pt x="1720" y="1554"/>
                  </a:lnTo>
                  <a:lnTo>
                    <a:pt x="1720" y="1554"/>
                  </a:lnTo>
                  <a:lnTo>
                    <a:pt x="1676" y="1540"/>
                  </a:lnTo>
                  <a:lnTo>
                    <a:pt x="1634" y="1522"/>
                  </a:lnTo>
                  <a:lnTo>
                    <a:pt x="1594" y="1502"/>
                  </a:lnTo>
                  <a:lnTo>
                    <a:pt x="1554" y="1478"/>
                  </a:lnTo>
                  <a:lnTo>
                    <a:pt x="1554" y="1478"/>
                  </a:lnTo>
                  <a:lnTo>
                    <a:pt x="1546" y="1444"/>
                  </a:lnTo>
                  <a:lnTo>
                    <a:pt x="1540" y="1408"/>
                  </a:lnTo>
                  <a:lnTo>
                    <a:pt x="1540" y="1408"/>
                  </a:lnTo>
                  <a:lnTo>
                    <a:pt x="1530" y="1282"/>
                  </a:lnTo>
                  <a:lnTo>
                    <a:pt x="1530" y="1282"/>
                  </a:lnTo>
                  <a:lnTo>
                    <a:pt x="1552" y="1240"/>
                  </a:lnTo>
                  <a:lnTo>
                    <a:pt x="1574" y="1196"/>
                  </a:lnTo>
                  <a:lnTo>
                    <a:pt x="1596" y="1146"/>
                  </a:lnTo>
                  <a:lnTo>
                    <a:pt x="1618" y="1090"/>
                  </a:lnTo>
                  <a:lnTo>
                    <a:pt x="1618" y="1090"/>
                  </a:lnTo>
                  <a:lnTo>
                    <a:pt x="1650" y="1004"/>
                  </a:lnTo>
                  <a:lnTo>
                    <a:pt x="1676" y="922"/>
                  </a:lnTo>
                  <a:lnTo>
                    <a:pt x="1676" y="922"/>
                  </a:lnTo>
                  <a:lnTo>
                    <a:pt x="1684" y="928"/>
                  </a:lnTo>
                  <a:lnTo>
                    <a:pt x="1694" y="930"/>
                  </a:lnTo>
                  <a:lnTo>
                    <a:pt x="1710" y="930"/>
                  </a:lnTo>
                  <a:lnTo>
                    <a:pt x="1710" y="930"/>
                  </a:lnTo>
                  <a:lnTo>
                    <a:pt x="1716" y="930"/>
                  </a:lnTo>
                  <a:lnTo>
                    <a:pt x="1724" y="928"/>
                  </a:lnTo>
                  <a:lnTo>
                    <a:pt x="1730" y="926"/>
                  </a:lnTo>
                  <a:lnTo>
                    <a:pt x="1734" y="922"/>
                  </a:lnTo>
                  <a:lnTo>
                    <a:pt x="1740" y="916"/>
                  </a:lnTo>
                  <a:lnTo>
                    <a:pt x="1744" y="908"/>
                  </a:lnTo>
                  <a:lnTo>
                    <a:pt x="1746" y="900"/>
                  </a:lnTo>
                  <a:lnTo>
                    <a:pt x="1748" y="892"/>
                  </a:lnTo>
                  <a:lnTo>
                    <a:pt x="1764" y="670"/>
                  </a:lnTo>
                  <a:lnTo>
                    <a:pt x="1764" y="670"/>
                  </a:lnTo>
                  <a:lnTo>
                    <a:pt x="1764" y="664"/>
                  </a:lnTo>
                  <a:lnTo>
                    <a:pt x="1762" y="656"/>
                  </a:lnTo>
                  <a:lnTo>
                    <a:pt x="1756" y="646"/>
                  </a:lnTo>
                  <a:lnTo>
                    <a:pt x="1752" y="640"/>
                  </a:lnTo>
                  <a:lnTo>
                    <a:pt x="1746" y="636"/>
                  </a:lnTo>
                  <a:lnTo>
                    <a:pt x="1740" y="634"/>
                  </a:lnTo>
                  <a:lnTo>
                    <a:pt x="1732" y="632"/>
                  </a:lnTo>
                  <a:lnTo>
                    <a:pt x="1730" y="632"/>
                  </a:lnTo>
                  <a:lnTo>
                    <a:pt x="1730" y="632"/>
                  </a:lnTo>
                  <a:lnTo>
                    <a:pt x="1734" y="590"/>
                  </a:lnTo>
                  <a:lnTo>
                    <a:pt x="1734" y="552"/>
                  </a:lnTo>
                  <a:lnTo>
                    <a:pt x="1734" y="482"/>
                  </a:lnTo>
                  <a:lnTo>
                    <a:pt x="1730" y="424"/>
                  </a:lnTo>
                  <a:lnTo>
                    <a:pt x="1724" y="376"/>
                  </a:lnTo>
                  <a:lnTo>
                    <a:pt x="1718" y="340"/>
                  </a:lnTo>
                  <a:lnTo>
                    <a:pt x="1710" y="314"/>
                  </a:lnTo>
                  <a:lnTo>
                    <a:pt x="1704" y="294"/>
                  </a:lnTo>
                  <a:lnTo>
                    <a:pt x="1704" y="294"/>
                  </a:lnTo>
                  <a:lnTo>
                    <a:pt x="1700" y="284"/>
                  </a:lnTo>
                  <a:lnTo>
                    <a:pt x="1686" y="258"/>
                  </a:lnTo>
                  <a:lnTo>
                    <a:pt x="1676" y="240"/>
                  </a:lnTo>
                  <a:lnTo>
                    <a:pt x="1662" y="220"/>
                  </a:lnTo>
                  <a:lnTo>
                    <a:pt x="1646" y="198"/>
                  </a:lnTo>
                  <a:lnTo>
                    <a:pt x="1628" y="174"/>
                  </a:lnTo>
                  <a:lnTo>
                    <a:pt x="1606" y="150"/>
                  </a:lnTo>
                  <a:lnTo>
                    <a:pt x="1580" y="126"/>
                  </a:lnTo>
                  <a:lnTo>
                    <a:pt x="1550" y="102"/>
                  </a:lnTo>
                  <a:lnTo>
                    <a:pt x="1518" y="80"/>
                  </a:lnTo>
                  <a:lnTo>
                    <a:pt x="1480" y="60"/>
                  </a:lnTo>
                  <a:lnTo>
                    <a:pt x="1440" y="40"/>
                  </a:lnTo>
                  <a:lnTo>
                    <a:pt x="1394" y="26"/>
                  </a:lnTo>
                  <a:lnTo>
                    <a:pt x="1346" y="12"/>
                  </a:lnTo>
                  <a:lnTo>
                    <a:pt x="1346" y="12"/>
                  </a:lnTo>
                  <a:lnTo>
                    <a:pt x="1314" y="8"/>
                  </a:lnTo>
                  <a:lnTo>
                    <a:pt x="1284" y="4"/>
                  </a:lnTo>
                  <a:lnTo>
                    <a:pt x="1230" y="0"/>
                  </a:lnTo>
                  <a:lnTo>
                    <a:pt x="1230" y="0"/>
                  </a:lnTo>
                  <a:lnTo>
                    <a:pt x="1230" y="0"/>
                  </a:lnTo>
                  <a:lnTo>
                    <a:pt x="1230" y="0"/>
                  </a:lnTo>
                  <a:lnTo>
                    <a:pt x="1228" y="0"/>
                  </a:lnTo>
                  <a:lnTo>
                    <a:pt x="1228" y="0"/>
                  </a:lnTo>
                  <a:lnTo>
                    <a:pt x="1174" y="4"/>
                  </a:lnTo>
                  <a:lnTo>
                    <a:pt x="1146" y="8"/>
                  </a:lnTo>
                  <a:lnTo>
                    <a:pt x="1114" y="12"/>
                  </a:lnTo>
                  <a:lnTo>
                    <a:pt x="1114" y="12"/>
                  </a:lnTo>
                  <a:lnTo>
                    <a:pt x="1064" y="26"/>
                  </a:lnTo>
                  <a:lnTo>
                    <a:pt x="1020" y="40"/>
                  </a:lnTo>
                  <a:lnTo>
                    <a:pt x="980" y="60"/>
                  </a:lnTo>
                  <a:lnTo>
                    <a:pt x="942" y="80"/>
                  </a:lnTo>
                  <a:lnTo>
                    <a:pt x="910" y="102"/>
                  </a:lnTo>
                  <a:lnTo>
                    <a:pt x="880" y="126"/>
                  </a:lnTo>
                  <a:lnTo>
                    <a:pt x="854" y="150"/>
                  </a:lnTo>
                  <a:lnTo>
                    <a:pt x="832" y="174"/>
                  </a:lnTo>
                  <a:lnTo>
                    <a:pt x="812" y="198"/>
                  </a:lnTo>
                  <a:lnTo>
                    <a:pt x="796" y="220"/>
                  </a:lnTo>
                  <a:lnTo>
                    <a:pt x="784" y="240"/>
                  </a:lnTo>
                  <a:lnTo>
                    <a:pt x="772" y="258"/>
                  </a:lnTo>
                  <a:lnTo>
                    <a:pt x="760" y="284"/>
                  </a:lnTo>
                  <a:lnTo>
                    <a:pt x="756" y="294"/>
                  </a:lnTo>
                  <a:lnTo>
                    <a:pt x="756" y="294"/>
                  </a:lnTo>
                  <a:lnTo>
                    <a:pt x="748" y="314"/>
                  </a:lnTo>
                  <a:lnTo>
                    <a:pt x="742" y="340"/>
                  </a:lnTo>
                  <a:lnTo>
                    <a:pt x="736" y="376"/>
                  </a:lnTo>
                  <a:lnTo>
                    <a:pt x="730" y="424"/>
                  </a:lnTo>
                  <a:lnTo>
                    <a:pt x="726" y="482"/>
                  </a:lnTo>
                  <a:lnTo>
                    <a:pt x="724" y="552"/>
                  </a:lnTo>
                  <a:lnTo>
                    <a:pt x="726" y="590"/>
                  </a:lnTo>
                  <a:lnTo>
                    <a:pt x="728" y="632"/>
                  </a:lnTo>
                  <a:lnTo>
                    <a:pt x="726" y="632"/>
                  </a:lnTo>
                  <a:lnTo>
                    <a:pt x="726" y="632"/>
                  </a:lnTo>
                  <a:lnTo>
                    <a:pt x="720" y="634"/>
                  </a:lnTo>
                  <a:lnTo>
                    <a:pt x="714" y="636"/>
                  </a:lnTo>
                  <a:lnTo>
                    <a:pt x="708" y="640"/>
                  </a:lnTo>
                  <a:lnTo>
                    <a:pt x="704" y="646"/>
                  </a:lnTo>
                  <a:lnTo>
                    <a:pt x="696" y="656"/>
                  </a:lnTo>
                  <a:lnTo>
                    <a:pt x="694" y="664"/>
                  </a:lnTo>
                  <a:lnTo>
                    <a:pt x="694" y="670"/>
                  </a:lnTo>
                  <a:lnTo>
                    <a:pt x="712" y="892"/>
                  </a:lnTo>
                  <a:lnTo>
                    <a:pt x="712" y="892"/>
                  </a:lnTo>
                  <a:lnTo>
                    <a:pt x="714" y="900"/>
                  </a:lnTo>
                  <a:lnTo>
                    <a:pt x="716" y="908"/>
                  </a:lnTo>
                  <a:lnTo>
                    <a:pt x="720" y="916"/>
                  </a:lnTo>
                  <a:lnTo>
                    <a:pt x="724" y="922"/>
                  </a:lnTo>
                  <a:lnTo>
                    <a:pt x="730" y="926"/>
                  </a:lnTo>
                  <a:lnTo>
                    <a:pt x="736" y="928"/>
                  </a:lnTo>
                  <a:lnTo>
                    <a:pt x="744" y="930"/>
                  </a:lnTo>
                  <a:lnTo>
                    <a:pt x="750" y="930"/>
                  </a:lnTo>
                  <a:lnTo>
                    <a:pt x="766" y="930"/>
                  </a:lnTo>
                  <a:lnTo>
                    <a:pt x="766" y="930"/>
                  </a:lnTo>
                  <a:lnTo>
                    <a:pt x="774" y="928"/>
                  </a:lnTo>
                  <a:lnTo>
                    <a:pt x="782" y="922"/>
                  </a:lnTo>
                  <a:lnTo>
                    <a:pt x="782" y="922"/>
                  </a:lnTo>
                  <a:lnTo>
                    <a:pt x="808" y="1004"/>
                  </a:lnTo>
                  <a:lnTo>
                    <a:pt x="840" y="1090"/>
                  </a:lnTo>
                  <a:lnTo>
                    <a:pt x="840" y="1090"/>
                  </a:lnTo>
                  <a:lnTo>
                    <a:pt x="864" y="1146"/>
                  </a:lnTo>
                  <a:lnTo>
                    <a:pt x="886" y="1196"/>
                  </a:lnTo>
                  <a:lnTo>
                    <a:pt x="908" y="1240"/>
                  </a:lnTo>
                  <a:lnTo>
                    <a:pt x="930" y="1282"/>
                  </a:lnTo>
                  <a:lnTo>
                    <a:pt x="930" y="1282"/>
                  </a:lnTo>
                  <a:lnTo>
                    <a:pt x="920" y="1408"/>
                  </a:lnTo>
                  <a:lnTo>
                    <a:pt x="920" y="1408"/>
                  </a:lnTo>
                  <a:lnTo>
                    <a:pt x="914" y="1444"/>
                  </a:lnTo>
                  <a:lnTo>
                    <a:pt x="906" y="1478"/>
                  </a:lnTo>
                  <a:lnTo>
                    <a:pt x="906" y="1478"/>
                  </a:lnTo>
                  <a:lnTo>
                    <a:pt x="872" y="1498"/>
                  </a:lnTo>
                  <a:lnTo>
                    <a:pt x="836" y="1516"/>
                  </a:lnTo>
                  <a:lnTo>
                    <a:pt x="800" y="1532"/>
                  </a:lnTo>
                  <a:lnTo>
                    <a:pt x="764" y="1546"/>
                  </a:lnTo>
                  <a:lnTo>
                    <a:pt x="726" y="1558"/>
                  </a:lnTo>
                  <a:lnTo>
                    <a:pt x="688" y="1568"/>
                  </a:lnTo>
                  <a:lnTo>
                    <a:pt x="610" y="1586"/>
                  </a:lnTo>
                  <a:lnTo>
                    <a:pt x="534" y="1600"/>
                  </a:lnTo>
                  <a:lnTo>
                    <a:pt x="458" y="1614"/>
                  </a:lnTo>
                  <a:lnTo>
                    <a:pt x="420" y="1622"/>
                  </a:lnTo>
                  <a:lnTo>
                    <a:pt x="384" y="1632"/>
                  </a:lnTo>
                  <a:lnTo>
                    <a:pt x="348" y="1642"/>
                  </a:lnTo>
                  <a:lnTo>
                    <a:pt x="316" y="1654"/>
                  </a:lnTo>
                  <a:lnTo>
                    <a:pt x="316" y="1654"/>
                  </a:lnTo>
                  <a:lnTo>
                    <a:pt x="272" y="1672"/>
                  </a:lnTo>
                  <a:lnTo>
                    <a:pt x="236" y="1692"/>
                  </a:lnTo>
                  <a:lnTo>
                    <a:pt x="202" y="1712"/>
                  </a:lnTo>
                  <a:lnTo>
                    <a:pt x="174" y="1732"/>
                  </a:lnTo>
                  <a:lnTo>
                    <a:pt x="152" y="1752"/>
                  </a:lnTo>
                  <a:lnTo>
                    <a:pt x="132" y="1772"/>
                  </a:lnTo>
                  <a:lnTo>
                    <a:pt x="114" y="1792"/>
                  </a:lnTo>
                  <a:lnTo>
                    <a:pt x="100" y="1812"/>
                  </a:lnTo>
                  <a:lnTo>
                    <a:pt x="90" y="1830"/>
                  </a:lnTo>
                  <a:lnTo>
                    <a:pt x="82" y="1848"/>
                  </a:lnTo>
                  <a:lnTo>
                    <a:pt x="70" y="1880"/>
                  </a:lnTo>
                  <a:lnTo>
                    <a:pt x="64" y="1902"/>
                  </a:lnTo>
                  <a:lnTo>
                    <a:pt x="62" y="1916"/>
                  </a:lnTo>
                  <a:lnTo>
                    <a:pt x="62" y="1916"/>
                  </a:lnTo>
                  <a:lnTo>
                    <a:pt x="46" y="1964"/>
                  </a:lnTo>
                  <a:lnTo>
                    <a:pt x="36" y="2000"/>
                  </a:lnTo>
                  <a:lnTo>
                    <a:pt x="26" y="2046"/>
                  </a:lnTo>
                  <a:lnTo>
                    <a:pt x="18" y="2106"/>
                  </a:lnTo>
                  <a:lnTo>
                    <a:pt x="10" y="2182"/>
                  </a:lnTo>
                  <a:lnTo>
                    <a:pt x="4" y="2278"/>
                  </a:lnTo>
                  <a:lnTo>
                    <a:pt x="0" y="2398"/>
                  </a:lnTo>
                  <a:lnTo>
                    <a:pt x="0" y="2398"/>
                  </a:lnTo>
                  <a:lnTo>
                    <a:pt x="0" y="2416"/>
                  </a:lnTo>
                  <a:lnTo>
                    <a:pt x="2" y="2436"/>
                  </a:lnTo>
                  <a:lnTo>
                    <a:pt x="6" y="2458"/>
                  </a:lnTo>
                  <a:lnTo>
                    <a:pt x="10" y="2470"/>
                  </a:lnTo>
                  <a:lnTo>
                    <a:pt x="16" y="2482"/>
                  </a:lnTo>
                  <a:lnTo>
                    <a:pt x="24" y="2492"/>
                  </a:lnTo>
                  <a:lnTo>
                    <a:pt x="34" y="2504"/>
                  </a:lnTo>
                  <a:lnTo>
                    <a:pt x="44" y="2516"/>
                  </a:lnTo>
                  <a:lnTo>
                    <a:pt x="58" y="2528"/>
                  </a:lnTo>
                  <a:lnTo>
                    <a:pt x="74" y="2540"/>
                  </a:lnTo>
                  <a:lnTo>
                    <a:pt x="92" y="2552"/>
                  </a:lnTo>
                  <a:lnTo>
                    <a:pt x="114" y="2564"/>
                  </a:lnTo>
                  <a:lnTo>
                    <a:pt x="138" y="2576"/>
                  </a:lnTo>
                  <a:lnTo>
                    <a:pt x="138" y="2576"/>
                  </a:lnTo>
                  <a:lnTo>
                    <a:pt x="206" y="2600"/>
                  </a:lnTo>
                  <a:lnTo>
                    <a:pt x="278" y="2622"/>
                  </a:lnTo>
                  <a:lnTo>
                    <a:pt x="352" y="2642"/>
                  </a:lnTo>
                  <a:lnTo>
                    <a:pt x="428" y="2660"/>
                  </a:lnTo>
                  <a:lnTo>
                    <a:pt x="504" y="2676"/>
                  </a:lnTo>
                  <a:lnTo>
                    <a:pt x="584" y="2690"/>
                  </a:lnTo>
                  <a:lnTo>
                    <a:pt x="666" y="2704"/>
                  </a:lnTo>
                  <a:lnTo>
                    <a:pt x="748" y="2714"/>
                  </a:lnTo>
                  <a:lnTo>
                    <a:pt x="748" y="2714"/>
                  </a:lnTo>
                  <a:lnTo>
                    <a:pt x="756" y="2744"/>
                  </a:lnTo>
                  <a:lnTo>
                    <a:pt x="764" y="2772"/>
                  </a:lnTo>
                  <a:lnTo>
                    <a:pt x="776" y="2800"/>
                  </a:lnTo>
                  <a:lnTo>
                    <a:pt x="790" y="2826"/>
                  </a:lnTo>
                  <a:lnTo>
                    <a:pt x="808" y="2852"/>
                  </a:lnTo>
                  <a:lnTo>
                    <a:pt x="826" y="2874"/>
                  </a:lnTo>
                  <a:lnTo>
                    <a:pt x="846" y="2896"/>
                  </a:lnTo>
                  <a:lnTo>
                    <a:pt x="868" y="2916"/>
                  </a:lnTo>
                  <a:lnTo>
                    <a:pt x="892" y="2934"/>
                  </a:lnTo>
                  <a:lnTo>
                    <a:pt x="916" y="2950"/>
                  </a:lnTo>
                  <a:lnTo>
                    <a:pt x="942" y="2964"/>
                  </a:lnTo>
                  <a:lnTo>
                    <a:pt x="970" y="2976"/>
                  </a:lnTo>
                  <a:lnTo>
                    <a:pt x="1000" y="2984"/>
                  </a:lnTo>
                  <a:lnTo>
                    <a:pt x="1030" y="2992"/>
                  </a:lnTo>
                  <a:lnTo>
                    <a:pt x="1060" y="2996"/>
                  </a:lnTo>
                  <a:lnTo>
                    <a:pt x="1092" y="2996"/>
                  </a:lnTo>
                  <a:lnTo>
                    <a:pt x="2256" y="2996"/>
                  </a:lnTo>
                  <a:lnTo>
                    <a:pt x="2256" y="2996"/>
                  </a:lnTo>
                  <a:lnTo>
                    <a:pt x="2290" y="2996"/>
                  </a:lnTo>
                  <a:lnTo>
                    <a:pt x="2326" y="2990"/>
                  </a:lnTo>
                  <a:lnTo>
                    <a:pt x="2360" y="2982"/>
                  </a:lnTo>
                  <a:lnTo>
                    <a:pt x="2392" y="2970"/>
                  </a:lnTo>
                  <a:lnTo>
                    <a:pt x="2422" y="2954"/>
                  </a:lnTo>
                  <a:lnTo>
                    <a:pt x="2450" y="2938"/>
                  </a:lnTo>
                  <a:lnTo>
                    <a:pt x="2478" y="2916"/>
                  </a:lnTo>
                  <a:lnTo>
                    <a:pt x="2502" y="2894"/>
                  </a:lnTo>
                  <a:lnTo>
                    <a:pt x="2526" y="2870"/>
                  </a:lnTo>
                  <a:lnTo>
                    <a:pt x="2546" y="2842"/>
                  </a:lnTo>
                  <a:lnTo>
                    <a:pt x="2564" y="2814"/>
                  </a:lnTo>
                  <a:lnTo>
                    <a:pt x="2578" y="2782"/>
                  </a:lnTo>
                  <a:lnTo>
                    <a:pt x="2590" y="2750"/>
                  </a:lnTo>
                  <a:lnTo>
                    <a:pt x="2598" y="2718"/>
                  </a:lnTo>
                  <a:lnTo>
                    <a:pt x="2604" y="2682"/>
                  </a:lnTo>
                  <a:lnTo>
                    <a:pt x="2606" y="2646"/>
                  </a:lnTo>
                  <a:lnTo>
                    <a:pt x="2606" y="2646"/>
                  </a:lnTo>
                  <a:lnTo>
                    <a:pt x="2604" y="2616"/>
                  </a:lnTo>
                  <a:lnTo>
                    <a:pt x="2600" y="2588"/>
                  </a:lnTo>
                  <a:lnTo>
                    <a:pt x="2594" y="2558"/>
                  </a:lnTo>
                  <a:lnTo>
                    <a:pt x="2586" y="2530"/>
                  </a:lnTo>
                  <a:lnTo>
                    <a:pt x="2574" y="2504"/>
                  </a:lnTo>
                  <a:lnTo>
                    <a:pt x="2562" y="2478"/>
                  </a:lnTo>
                  <a:lnTo>
                    <a:pt x="2546" y="2452"/>
                  </a:lnTo>
                  <a:lnTo>
                    <a:pt x="2528" y="2428"/>
                  </a:lnTo>
                  <a:lnTo>
                    <a:pt x="2528" y="2428"/>
                  </a:lnTo>
                  <a:close/>
                  <a:moveTo>
                    <a:pt x="2256" y="2944"/>
                  </a:moveTo>
                  <a:lnTo>
                    <a:pt x="1092" y="2944"/>
                  </a:lnTo>
                  <a:lnTo>
                    <a:pt x="1092" y="2944"/>
                  </a:lnTo>
                  <a:lnTo>
                    <a:pt x="1062" y="2942"/>
                  </a:lnTo>
                  <a:lnTo>
                    <a:pt x="1032" y="2938"/>
                  </a:lnTo>
                  <a:lnTo>
                    <a:pt x="1004" y="2930"/>
                  </a:lnTo>
                  <a:lnTo>
                    <a:pt x="976" y="2920"/>
                  </a:lnTo>
                  <a:lnTo>
                    <a:pt x="950" y="2908"/>
                  </a:lnTo>
                  <a:lnTo>
                    <a:pt x="926" y="2892"/>
                  </a:lnTo>
                  <a:lnTo>
                    <a:pt x="902" y="2876"/>
                  </a:lnTo>
                  <a:lnTo>
                    <a:pt x="882" y="2856"/>
                  </a:lnTo>
                  <a:lnTo>
                    <a:pt x="862" y="2836"/>
                  </a:lnTo>
                  <a:lnTo>
                    <a:pt x="846" y="2812"/>
                  </a:lnTo>
                  <a:lnTo>
                    <a:pt x="830" y="2788"/>
                  </a:lnTo>
                  <a:lnTo>
                    <a:pt x="818" y="2762"/>
                  </a:lnTo>
                  <a:lnTo>
                    <a:pt x="808" y="2734"/>
                  </a:lnTo>
                  <a:lnTo>
                    <a:pt x="800" y="2706"/>
                  </a:lnTo>
                  <a:lnTo>
                    <a:pt x="796" y="2676"/>
                  </a:lnTo>
                  <a:lnTo>
                    <a:pt x="794" y="2646"/>
                  </a:lnTo>
                  <a:lnTo>
                    <a:pt x="794" y="2646"/>
                  </a:lnTo>
                  <a:lnTo>
                    <a:pt x="796" y="2616"/>
                  </a:lnTo>
                  <a:lnTo>
                    <a:pt x="800" y="2586"/>
                  </a:lnTo>
                  <a:lnTo>
                    <a:pt x="808" y="2558"/>
                  </a:lnTo>
                  <a:lnTo>
                    <a:pt x="818" y="2532"/>
                  </a:lnTo>
                  <a:lnTo>
                    <a:pt x="830" y="2506"/>
                  </a:lnTo>
                  <a:lnTo>
                    <a:pt x="846" y="2480"/>
                  </a:lnTo>
                  <a:lnTo>
                    <a:pt x="862" y="2458"/>
                  </a:lnTo>
                  <a:lnTo>
                    <a:pt x="882" y="2436"/>
                  </a:lnTo>
                  <a:lnTo>
                    <a:pt x="902" y="2418"/>
                  </a:lnTo>
                  <a:lnTo>
                    <a:pt x="926" y="2400"/>
                  </a:lnTo>
                  <a:lnTo>
                    <a:pt x="950" y="2386"/>
                  </a:lnTo>
                  <a:lnTo>
                    <a:pt x="976" y="2372"/>
                  </a:lnTo>
                  <a:lnTo>
                    <a:pt x="1004" y="2362"/>
                  </a:lnTo>
                  <a:lnTo>
                    <a:pt x="1032" y="2356"/>
                  </a:lnTo>
                  <a:lnTo>
                    <a:pt x="1062" y="2350"/>
                  </a:lnTo>
                  <a:lnTo>
                    <a:pt x="1092" y="2350"/>
                  </a:lnTo>
                  <a:lnTo>
                    <a:pt x="1608" y="2350"/>
                  </a:lnTo>
                  <a:lnTo>
                    <a:pt x="1608" y="1576"/>
                  </a:lnTo>
                  <a:lnTo>
                    <a:pt x="1894" y="1660"/>
                  </a:lnTo>
                  <a:lnTo>
                    <a:pt x="2476" y="2446"/>
                  </a:lnTo>
                  <a:lnTo>
                    <a:pt x="2476" y="2448"/>
                  </a:lnTo>
                  <a:lnTo>
                    <a:pt x="2476" y="2448"/>
                  </a:lnTo>
                  <a:lnTo>
                    <a:pt x="2492" y="2468"/>
                  </a:lnTo>
                  <a:lnTo>
                    <a:pt x="2508" y="2490"/>
                  </a:lnTo>
                  <a:lnTo>
                    <a:pt x="2520" y="2514"/>
                  </a:lnTo>
                  <a:lnTo>
                    <a:pt x="2532" y="2538"/>
                  </a:lnTo>
                  <a:lnTo>
                    <a:pt x="2540" y="2564"/>
                  </a:lnTo>
                  <a:lnTo>
                    <a:pt x="2548" y="2590"/>
                  </a:lnTo>
                  <a:lnTo>
                    <a:pt x="2550" y="2618"/>
                  </a:lnTo>
                  <a:lnTo>
                    <a:pt x="2552" y="2646"/>
                  </a:lnTo>
                  <a:lnTo>
                    <a:pt x="2552" y="2646"/>
                  </a:lnTo>
                  <a:lnTo>
                    <a:pt x="2550" y="2676"/>
                  </a:lnTo>
                  <a:lnTo>
                    <a:pt x="2546" y="2706"/>
                  </a:lnTo>
                  <a:lnTo>
                    <a:pt x="2538" y="2734"/>
                  </a:lnTo>
                  <a:lnTo>
                    <a:pt x="2528" y="2762"/>
                  </a:lnTo>
                  <a:lnTo>
                    <a:pt x="2516" y="2788"/>
                  </a:lnTo>
                  <a:lnTo>
                    <a:pt x="2502" y="2812"/>
                  </a:lnTo>
                  <a:lnTo>
                    <a:pt x="2484" y="2836"/>
                  </a:lnTo>
                  <a:lnTo>
                    <a:pt x="2466" y="2856"/>
                  </a:lnTo>
                  <a:lnTo>
                    <a:pt x="2444" y="2876"/>
                  </a:lnTo>
                  <a:lnTo>
                    <a:pt x="2422" y="2892"/>
                  </a:lnTo>
                  <a:lnTo>
                    <a:pt x="2396" y="2908"/>
                  </a:lnTo>
                  <a:lnTo>
                    <a:pt x="2370" y="2920"/>
                  </a:lnTo>
                  <a:lnTo>
                    <a:pt x="2344" y="2930"/>
                  </a:lnTo>
                  <a:lnTo>
                    <a:pt x="2314" y="2938"/>
                  </a:lnTo>
                  <a:lnTo>
                    <a:pt x="2286" y="2942"/>
                  </a:lnTo>
                  <a:lnTo>
                    <a:pt x="2256" y="2944"/>
                  </a:lnTo>
                  <a:lnTo>
                    <a:pt x="2256" y="2944"/>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6" name="Freeform 65">
              <a:extLst>
                <a:ext uri="{FF2B5EF4-FFF2-40B4-BE49-F238E27FC236}">
                  <a16:creationId xmlns:a16="http://schemas.microsoft.com/office/drawing/2014/main" id="{0640DE01-5C14-4585-ABD9-9A741363EEC8}"/>
                </a:ext>
              </a:extLst>
            </p:cNvPr>
            <p:cNvSpPr>
              <a:spLocks/>
            </p:cNvSpPr>
            <p:nvPr/>
          </p:nvSpPr>
          <p:spPr bwMode="auto">
            <a:xfrm>
              <a:off x="-3767138" y="9936163"/>
              <a:ext cx="1165225" cy="688975"/>
            </a:xfrm>
            <a:custGeom>
              <a:avLst/>
              <a:gdLst/>
              <a:ahLst/>
              <a:cxnLst>
                <a:cxn ang="0">
                  <a:pos x="734" y="0"/>
                </a:cxn>
                <a:cxn ang="0">
                  <a:pos x="218" y="0"/>
                </a:cxn>
                <a:cxn ang="0">
                  <a:pos x="218" y="0"/>
                </a:cxn>
                <a:cxn ang="0">
                  <a:pos x="196" y="0"/>
                </a:cxn>
                <a:cxn ang="0">
                  <a:pos x="174" y="4"/>
                </a:cxn>
                <a:cxn ang="0">
                  <a:pos x="152" y="8"/>
                </a:cxn>
                <a:cxn ang="0">
                  <a:pos x="132" y="16"/>
                </a:cxn>
                <a:cxn ang="0">
                  <a:pos x="114" y="26"/>
                </a:cxn>
                <a:cxn ang="0">
                  <a:pos x="96" y="36"/>
                </a:cxn>
                <a:cxn ang="0">
                  <a:pos x="80" y="48"/>
                </a:cxn>
                <a:cxn ang="0">
                  <a:pos x="64" y="62"/>
                </a:cxn>
                <a:cxn ang="0">
                  <a:pos x="50" y="78"/>
                </a:cxn>
                <a:cxn ang="0">
                  <a:pos x="38" y="96"/>
                </a:cxn>
                <a:cxn ang="0">
                  <a:pos x="26" y="114"/>
                </a:cxn>
                <a:cxn ang="0">
                  <a:pos x="16" y="132"/>
                </a:cxn>
                <a:cxn ang="0">
                  <a:pos x="10" y="152"/>
                </a:cxn>
                <a:cxn ang="0">
                  <a:pos x="4" y="172"/>
                </a:cxn>
                <a:cxn ang="0">
                  <a:pos x="0" y="194"/>
                </a:cxn>
                <a:cxn ang="0">
                  <a:pos x="0" y="216"/>
                </a:cxn>
                <a:cxn ang="0">
                  <a:pos x="0" y="216"/>
                </a:cxn>
                <a:cxn ang="0">
                  <a:pos x="0" y="238"/>
                </a:cxn>
                <a:cxn ang="0">
                  <a:pos x="4" y="260"/>
                </a:cxn>
                <a:cxn ang="0">
                  <a:pos x="10" y="282"/>
                </a:cxn>
                <a:cxn ang="0">
                  <a:pos x="16" y="302"/>
                </a:cxn>
                <a:cxn ang="0">
                  <a:pos x="26" y="320"/>
                </a:cxn>
                <a:cxn ang="0">
                  <a:pos x="38" y="338"/>
                </a:cxn>
                <a:cxn ang="0">
                  <a:pos x="50" y="354"/>
                </a:cxn>
                <a:cxn ang="0">
                  <a:pos x="64" y="370"/>
                </a:cxn>
                <a:cxn ang="0">
                  <a:pos x="80" y="384"/>
                </a:cxn>
                <a:cxn ang="0">
                  <a:pos x="96" y="396"/>
                </a:cxn>
                <a:cxn ang="0">
                  <a:pos x="114" y="408"/>
                </a:cxn>
                <a:cxn ang="0">
                  <a:pos x="132" y="416"/>
                </a:cxn>
                <a:cxn ang="0">
                  <a:pos x="152" y="424"/>
                </a:cxn>
                <a:cxn ang="0">
                  <a:pos x="174" y="430"/>
                </a:cxn>
                <a:cxn ang="0">
                  <a:pos x="196" y="432"/>
                </a:cxn>
                <a:cxn ang="0">
                  <a:pos x="218" y="434"/>
                </a:cxn>
                <a:cxn ang="0">
                  <a:pos x="734" y="434"/>
                </a:cxn>
                <a:cxn ang="0">
                  <a:pos x="734" y="368"/>
                </a:cxn>
                <a:cxn ang="0">
                  <a:pos x="734" y="0"/>
                </a:cxn>
              </a:cxnLst>
              <a:rect l="0" t="0" r="r" b="b"/>
              <a:pathLst>
                <a:path w="734" h="434">
                  <a:moveTo>
                    <a:pt x="734" y="0"/>
                  </a:moveTo>
                  <a:lnTo>
                    <a:pt x="218" y="0"/>
                  </a:lnTo>
                  <a:lnTo>
                    <a:pt x="218" y="0"/>
                  </a:lnTo>
                  <a:lnTo>
                    <a:pt x="196" y="0"/>
                  </a:lnTo>
                  <a:lnTo>
                    <a:pt x="174" y="4"/>
                  </a:lnTo>
                  <a:lnTo>
                    <a:pt x="152" y="8"/>
                  </a:lnTo>
                  <a:lnTo>
                    <a:pt x="132" y="16"/>
                  </a:lnTo>
                  <a:lnTo>
                    <a:pt x="114" y="26"/>
                  </a:lnTo>
                  <a:lnTo>
                    <a:pt x="96" y="36"/>
                  </a:lnTo>
                  <a:lnTo>
                    <a:pt x="80" y="48"/>
                  </a:lnTo>
                  <a:lnTo>
                    <a:pt x="64" y="62"/>
                  </a:lnTo>
                  <a:lnTo>
                    <a:pt x="50" y="78"/>
                  </a:lnTo>
                  <a:lnTo>
                    <a:pt x="38" y="96"/>
                  </a:lnTo>
                  <a:lnTo>
                    <a:pt x="26" y="114"/>
                  </a:lnTo>
                  <a:lnTo>
                    <a:pt x="16" y="132"/>
                  </a:lnTo>
                  <a:lnTo>
                    <a:pt x="10" y="152"/>
                  </a:lnTo>
                  <a:lnTo>
                    <a:pt x="4" y="172"/>
                  </a:lnTo>
                  <a:lnTo>
                    <a:pt x="0" y="194"/>
                  </a:lnTo>
                  <a:lnTo>
                    <a:pt x="0" y="216"/>
                  </a:lnTo>
                  <a:lnTo>
                    <a:pt x="0" y="216"/>
                  </a:lnTo>
                  <a:lnTo>
                    <a:pt x="0" y="238"/>
                  </a:lnTo>
                  <a:lnTo>
                    <a:pt x="4" y="260"/>
                  </a:lnTo>
                  <a:lnTo>
                    <a:pt x="10" y="282"/>
                  </a:lnTo>
                  <a:lnTo>
                    <a:pt x="16" y="302"/>
                  </a:lnTo>
                  <a:lnTo>
                    <a:pt x="26" y="320"/>
                  </a:lnTo>
                  <a:lnTo>
                    <a:pt x="38" y="338"/>
                  </a:lnTo>
                  <a:lnTo>
                    <a:pt x="50" y="354"/>
                  </a:lnTo>
                  <a:lnTo>
                    <a:pt x="64" y="370"/>
                  </a:lnTo>
                  <a:lnTo>
                    <a:pt x="80" y="384"/>
                  </a:lnTo>
                  <a:lnTo>
                    <a:pt x="96" y="396"/>
                  </a:lnTo>
                  <a:lnTo>
                    <a:pt x="114" y="408"/>
                  </a:lnTo>
                  <a:lnTo>
                    <a:pt x="132" y="416"/>
                  </a:lnTo>
                  <a:lnTo>
                    <a:pt x="152" y="424"/>
                  </a:lnTo>
                  <a:lnTo>
                    <a:pt x="174" y="430"/>
                  </a:lnTo>
                  <a:lnTo>
                    <a:pt x="196" y="432"/>
                  </a:lnTo>
                  <a:lnTo>
                    <a:pt x="218" y="434"/>
                  </a:lnTo>
                  <a:lnTo>
                    <a:pt x="734" y="434"/>
                  </a:lnTo>
                  <a:lnTo>
                    <a:pt x="734" y="368"/>
                  </a:lnTo>
                  <a:lnTo>
                    <a:pt x="734"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77" name="组合 76">
            <a:extLst>
              <a:ext uri="{FF2B5EF4-FFF2-40B4-BE49-F238E27FC236}">
                <a16:creationId xmlns:a16="http://schemas.microsoft.com/office/drawing/2014/main" id="{C74FEBCC-90D3-47B2-841C-7EC96D723749}"/>
              </a:ext>
            </a:extLst>
          </p:cNvPr>
          <p:cNvGrpSpPr/>
          <p:nvPr/>
        </p:nvGrpSpPr>
        <p:grpSpPr>
          <a:xfrm>
            <a:off x="6487042" y="1994268"/>
            <a:ext cx="360000" cy="360000"/>
            <a:chOff x="792820" y="4452903"/>
            <a:chExt cx="720000" cy="720000"/>
          </a:xfrm>
          <a:effectLst>
            <a:outerShdw blurRad="50800" dist="38100" dir="2700000" algn="tl" rotWithShape="0">
              <a:prstClr val="black">
                <a:alpha val="40000"/>
              </a:prstClr>
            </a:outerShdw>
          </a:effectLst>
        </p:grpSpPr>
        <p:sp>
          <p:nvSpPr>
            <p:cNvPr id="78" name="Freeform 63">
              <a:extLst>
                <a:ext uri="{FF2B5EF4-FFF2-40B4-BE49-F238E27FC236}">
                  <a16:creationId xmlns:a16="http://schemas.microsoft.com/office/drawing/2014/main" id="{39187CFB-705B-4C0C-91EA-ECFB4A954A6F}"/>
                </a:ext>
              </a:extLst>
            </p:cNvPr>
            <p:cNvSpPr>
              <a:spLocks/>
            </p:cNvSpPr>
            <p:nvPr/>
          </p:nvSpPr>
          <p:spPr bwMode="auto">
            <a:xfrm>
              <a:off x="792820" y="4452903"/>
              <a:ext cx="720000" cy="720000"/>
            </a:xfrm>
            <a:custGeom>
              <a:avLst/>
              <a:gdLst/>
              <a:ahLst/>
              <a:cxnLst>
                <a:cxn ang="0">
                  <a:pos x="4778" y="2578"/>
                </a:cxn>
                <a:cxn ang="0">
                  <a:pos x="4736" y="2876"/>
                </a:cxn>
                <a:cxn ang="0">
                  <a:pos x="4660" y="3160"/>
                </a:cxn>
                <a:cxn ang="0">
                  <a:pos x="4550" y="3430"/>
                </a:cxn>
                <a:cxn ang="0">
                  <a:pos x="4408" y="3684"/>
                </a:cxn>
                <a:cxn ang="0">
                  <a:pos x="4238" y="3916"/>
                </a:cxn>
                <a:cxn ang="0">
                  <a:pos x="4044" y="4126"/>
                </a:cxn>
                <a:cxn ang="0">
                  <a:pos x="3824" y="4310"/>
                </a:cxn>
                <a:cxn ang="0">
                  <a:pos x="3584" y="4470"/>
                </a:cxn>
                <a:cxn ang="0">
                  <a:pos x="3324" y="4598"/>
                </a:cxn>
                <a:cxn ang="0">
                  <a:pos x="3048" y="4696"/>
                </a:cxn>
                <a:cxn ang="0">
                  <a:pos x="2756" y="4758"/>
                </a:cxn>
                <a:cxn ang="0">
                  <a:pos x="2454" y="4786"/>
                </a:cxn>
                <a:cxn ang="0">
                  <a:pos x="2208" y="4780"/>
                </a:cxn>
                <a:cxn ang="0">
                  <a:pos x="1910" y="4738"/>
                </a:cxn>
                <a:cxn ang="0">
                  <a:pos x="1626" y="4660"/>
                </a:cxn>
                <a:cxn ang="0">
                  <a:pos x="1356" y="4550"/>
                </a:cxn>
                <a:cxn ang="0">
                  <a:pos x="1102" y="4410"/>
                </a:cxn>
                <a:cxn ang="0">
                  <a:pos x="870" y="4240"/>
                </a:cxn>
                <a:cxn ang="0">
                  <a:pos x="660" y="4044"/>
                </a:cxn>
                <a:cxn ang="0">
                  <a:pos x="476" y="3826"/>
                </a:cxn>
                <a:cxn ang="0">
                  <a:pos x="316" y="3584"/>
                </a:cxn>
                <a:cxn ang="0">
                  <a:pos x="188" y="3324"/>
                </a:cxn>
                <a:cxn ang="0">
                  <a:pos x="90" y="3048"/>
                </a:cxn>
                <a:cxn ang="0">
                  <a:pos x="28" y="2758"/>
                </a:cxn>
                <a:cxn ang="0">
                  <a:pos x="0" y="2456"/>
                </a:cxn>
                <a:cxn ang="0">
                  <a:pos x="6" y="2210"/>
                </a:cxn>
                <a:cxn ang="0">
                  <a:pos x="48" y="1912"/>
                </a:cxn>
                <a:cxn ang="0">
                  <a:pos x="126" y="1626"/>
                </a:cxn>
                <a:cxn ang="0">
                  <a:pos x="236" y="1356"/>
                </a:cxn>
                <a:cxn ang="0">
                  <a:pos x="376" y="1104"/>
                </a:cxn>
                <a:cxn ang="0">
                  <a:pos x="546" y="872"/>
                </a:cxn>
                <a:cxn ang="0">
                  <a:pos x="742" y="662"/>
                </a:cxn>
                <a:cxn ang="0">
                  <a:pos x="960" y="476"/>
                </a:cxn>
                <a:cxn ang="0">
                  <a:pos x="1202" y="318"/>
                </a:cxn>
                <a:cxn ang="0">
                  <a:pos x="1462" y="188"/>
                </a:cxn>
                <a:cxn ang="0">
                  <a:pos x="1738" y="92"/>
                </a:cxn>
                <a:cxn ang="0">
                  <a:pos x="2028" y="28"/>
                </a:cxn>
                <a:cxn ang="0">
                  <a:pos x="2330" y="2"/>
                </a:cxn>
                <a:cxn ang="0">
                  <a:pos x="2576" y="8"/>
                </a:cxn>
                <a:cxn ang="0">
                  <a:pos x="2874" y="50"/>
                </a:cxn>
                <a:cxn ang="0">
                  <a:pos x="3160" y="126"/>
                </a:cxn>
                <a:cxn ang="0">
                  <a:pos x="3430" y="236"/>
                </a:cxn>
                <a:cxn ang="0">
                  <a:pos x="3682" y="378"/>
                </a:cxn>
                <a:cxn ang="0">
                  <a:pos x="3914" y="548"/>
                </a:cxn>
                <a:cxn ang="0">
                  <a:pos x="4124" y="742"/>
                </a:cxn>
                <a:cxn ang="0">
                  <a:pos x="4310" y="962"/>
                </a:cxn>
                <a:cxn ang="0">
                  <a:pos x="4468" y="1202"/>
                </a:cxn>
                <a:cxn ang="0">
                  <a:pos x="4598" y="1462"/>
                </a:cxn>
                <a:cxn ang="0">
                  <a:pos x="4694" y="1738"/>
                </a:cxn>
                <a:cxn ang="0">
                  <a:pos x="4758" y="2030"/>
                </a:cxn>
                <a:cxn ang="0">
                  <a:pos x="4784" y="2332"/>
                </a:cxn>
              </a:cxnLst>
              <a:rect l="0" t="0" r="r" b="b"/>
              <a:pathLst>
                <a:path w="4786" h="4786">
                  <a:moveTo>
                    <a:pt x="4786" y="2394"/>
                  </a:moveTo>
                  <a:lnTo>
                    <a:pt x="4786" y="2394"/>
                  </a:lnTo>
                  <a:lnTo>
                    <a:pt x="4784" y="2456"/>
                  </a:lnTo>
                  <a:lnTo>
                    <a:pt x="4782" y="2516"/>
                  </a:lnTo>
                  <a:lnTo>
                    <a:pt x="4778" y="2578"/>
                  </a:lnTo>
                  <a:lnTo>
                    <a:pt x="4772" y="2638"/>
                  </a:lnTo>
                  <a:lnTo>
                    <a:pt x="4766" y="2698"/>
                  </a:lnTo>
                  <a:lnTo>
                    <a:pt x="4758" y="2758"/>
                  </a:lnTo>
                  <a:lnTo>
                    <a:pt x="4748" y="2818"/>
                  </a:lnTo>
                  <a:lnTo>
                    <a:pt x="4736" y="2876"/>
                  </a:lnTo>
                  <a:lnTo>
                    <a:pt x="4724" y="2934"/>
                  </a:lnTo>
                  <a:lnTo>
                    <a:pt x="4710" y="2992"/>
                  </a:lnTo>
                  <a:lnTo>
                    <a:pt x="4694" y="3048"/>
                  </a:lnTo>
                  <a:lnTo>
                    <a:pt x="4678" y="3106"/>
                  </a:lnTo>
                  <a:lnTo>
                    <a:pt x="4660" y="3160"/>
                  </a:lnTo>
                  <a:lnTo>
                    <a:pt x="4640" y="3216"/>
                  </a:lnTo>
                  <a:lnTo>
                    <a:pt x="4620" y="3270"/>
                  </a:lnTo>
                  <a:lnTo>
                    <a:pt x="4598" y="3324"/>
                  </a:lnTo>
                  <a:lnTo>
                    <a:pt x="4574" y="3378"/>
                  </a:lnTo>
                  <a:lnTo>
                    <a:pt x="4550" y="3430"/>
                  </a:lnTo>
                  <a:lnTo>
                    <a:pt x="4524" y="3482"/>
                  </a:lnTo>
                  <a:lnTo>
                    <a:pt x="4496" y="3534"/>
                  </a:lnTo>
                  <a:lnTo>
                    <a:pt x="4468" y="3584"/>
                  </a:lnTo>
                  <a:lnTo>
                    <a:pt x="4438" y="3634"/>
                  </a:lnTo>
                  <a:lnTo>
                    <a:pt x="4408" y="3684"/>
                  </a:lnTo>
                  <a:lnTo>
                    <a:pt x="4376" y="3732"/>
                  </a:lnTo>
                  <a:lnTo>
                    <a:pt x="4344" y="3778"/>
                  </a:lnTo>
                  <a:lnTo>
                    <a:pt x="4310" y="3826"/>
                  </a:lnTo>
                  <a:lnTo>
                    <a:pt x="4274" y="3870"/>
                  </a:lnTo>
                  <a:lnTo>
                    <a:pt x="4238" y="3916"/>
                  </a:lnTo>
                  <a:lnTo>
                    <a:pt x="4202" y="3960"/>
                  </a:lnTo>
                  <a:lnTo>
                    <a:pt x="4164" y="4002"/>
                  </a:lnTo>
                  <a:lnTo>
                    <a:pt x="4124" y="4044"/>
                  </a:lnTo>
                  <a:lnTo>
                    <a:pt x="4084" y="4086"/>
                  </a:lnTo>
                  <a:lnTo>
                    <a:pt x="4044" y="4126"/>
                  </a:lnTo>
                  <a:lnTo>
                    <a:pt x="4002" y="4164"/>
                  </a:lnTo>
                  <a:lnTo>
                    <a:pt x="3958" y="4202"/>
                  </a:lnTo>
                  <a:lnTo>
                    <a:pt x="3914" y="4240"/>
                  </a:lnTo>
                  <a:lnTo>
                    <a:pt x="3870" y="4276"/>
                  </a:lnTo>
                  <a:lnTo>
                    <a:pt x="3824" y="4310"/>
                  </a:lnTo>
                  <a:lnTo>
                    <a:pt x="3778" y="4344"/>
                  </a:lnTo>
                  <a:lnTo>
                    <a:pt x="3730" y="4378"/>
                  </a:lnTo>
                  <a:lnTo>
                    <a:pt x="3682" y="4410"/>
                  </a:lnTo>
                  <a:lnTo>
                    <a:pt x="3634" y="4440"/>
                  </a:lnTo>
                  <a:lnTo>
                    <a:pt x="3584" y="4470"/>
                  </a:lnTo>
                  <a:lnTo>
                    <a:pt x="3534" y="4498"/>
                  </a:lnTo>
                  <a:lnTo>
                    <a:pt x="3482" y="4524"/>
                  </a:lnTo>
                  <a:lnTo>
                    <a:pt x="3430" y="4550"/>
                  </a:lnTo>
                  <a:lnTo>
                    <a:pt x="3378" y="4574"/>
                  </a:lnTo>
                  <a:lnTo>
                    <a:pt x="3324" y="4598"/>
                  </a:lnTo>
                  <a:lnTo>
                    <a:pt x="3270" y="4620"/>
                  </a:lnTo>
                  <a:lnTo>
                    <a:pt x="3216" y="4642"/>
                  </a:lnTo>
                  <a:lnTo>
                    <a:pt x="3160" y="4660"/>
                  </a:lnTo>
                  <a:lnTo>
                    <a:pt x="3104" y="4678"/>
                  </a:lnTo>
                  <a:lnTo>
                    <a:pt x="3048" y="4696"/>
                  </a:lnTo>
                  <a:lnTo>
                    <a:pt x="2990" y="4712"/>
                  </a:lnTo>
                  <a:lnTo>
                    <a:pt x="2932" y="4726"/>
                  </a:lnTo>
                  <a:lnTo>
                    <a:pt x="2874" y="4738"/>
                  </a:lnTo>
                  <a:lnTo>
                    <a:pt x="2816" y="4748"/>
                  </a:lnTo>
                  <a:lnTo>
                    <a:pt x="2756" y="4758"/>
                  </a:lnTo>
                  <a:lnTo>
                    <a:pt x="2698" y="4768"/>
                  </a:lnTo>
                  <a:lnTo>
                    <a:pt x="2638" y="4774"/>
                  </a:lnTo>
                  <a:lnTo>
                    <a:pt x="2576" y="4780"/>
                  </a:lnTo>
                  <a:lnTo>
                    <a:pt x="2516" y="4784"/>
                  </a:lnTo>
                  <a:lnTo>
                    <a:pt x="2454" y="4786"/>
                  </a:lnTo>
                  <a:lnTo>
                    <a:pt x="2392" y="4786"/>
                  </a:lnTo>
                  <a:lnTo>
                    <a:pt x="2392" y="4786"/>
                  </a:lnTo>
                  <a:lnTo>
                    <a:pt x="2330" y="4786"/>
                  </a:lnTo>
                  <a:lnTo>
                    <a:pt x="2270" y="4784"/>
                  </a:lnTo>
                  <a:lnTo>
                    <a:pt x="2208" y="4780"/>
                  </a:lnTo>
                  <a:lnTo>
                    <a:pt x="2148" y="4774"/>
                  </a:lnTo>
                  <a:lnTo>
                    <a:pt x="2088" y="4768"/>
                  </a:lnTo>
                  <a:lnTo>
                    <a:pt x="2028" y="4758"/>
                  </a:lnTo>
                  <a:lnTo>
                    <a:pt x="1968" y="4748"/>
                  </a:lnTo>
                  <a:lnTo>
                    <a:pt x="1910" y="4738"/>
                  </a:lnTo>
                  <a:lnTo>
                    <a:pt x="1852" y="4726"/>
                  </a:lnTo>
                  <a:lnTo>
                    <a:pt x="1794" y="4712"/>
                  </a:lnTo>
                  <a:lnTo>
                    <a:pt x="1738" y="4696"/>
                  </a:lnTo>
                  <a:lnTo>
                    <a:pt x="1680" y="4678"/>
                  </a:lnTo>
                  <a:lnTo>
                    <a:pt x="1626" y="4660"/>
                  </a:lnTo>
                  <a:lnTo>
                    <a:pt x="1570" y="4642"/>
                  </a:lnTo>
                  <a:lnTo>
                    <a:pt x="1516" y="4620"/>
                  </a:lnTo>
                  <a:lnTo>
                    <a:pt x="1462" y="4598"/>
                  </a:lnTo>
                  <a:lnTo>
                    <a:pt x="1408" y="4574"/>
                  </a:lnTo>
                  <a:lnTo>
                    <a:pt x="1356" y="4550"/>
                  </a:lnTo>
                  <a:lnTo>
                    <a:pt x="1304" y="4524"/>
                  </a:lnTo>
                  <a:lnTo>
                    <a:pt x="1252" y="4498"/>
                  </a:lnTo>
                  <a:lnTo>
                    <a:pt x="1202" y="4470"/>
                  </a:lnTo>
                  <a:lnTo>
                    <a:pt x="1152" y="4440"/>
                  </a:lnTo>
                  <a:lnTo>
                    <a:pt x="1102" y="4410"/>
                  </a:lnTo>
                  <a:lnTo>
                    <a:pt x="1054" y="4378"/>
                  </a:lnTo>
                  <a:lnTo>
                    <a:pt x="1008" y="4344"/>
                  </a:lnTo>
                  <a:lnTo>
                    <a:pt x="960" y="4310"/>
                  </a:lnTo>
                  <a:lnTo>
                    <a:pt x="916" y="4276"/>
                  </a:lnTo>
                  <a:lnTo>
                    <a:pt x="870" y="4240"/>
                  </a:lnTo>
                  <a:lnTo>
                    <a:pt x="826" y="4202"/>
                  </a:lnTo>
                  <a:lnTo>
                    <a:pt x="784" y="4164"/>
                  </a:lnTo>
                  <a:lnTo>
                    <a:pt x="742" y="4126"/>
                  </a:lnTo>
                  <a:lnTo>
                    <a:pt x="700" y="4086"/>
                  </a:lnTo>
                  <a:lnTo>
                    <a:pt x="660" y="4044"/>
                  </a:lnTo>
                  <a:lnTo>
                    <a:pt x="622" y="4002"/>
                  </a:lnTo>
                  <a:lnTo>
                    <a:pt x="584" y="3960"/>
                  </a:lnTo>
                  <a:lnTo>
                    <a:pt x="546" y="3916"/>
                  </a:lnTo>
                  <a:lnTo>
                    <a:pt x="510" y="3870"/>
                  </a:lnTo>
                  <a:lnTo>
                    <a:pt x="476" y="3826"/>
                  </a:lnTo>
                  <a:lnTo>
                    <a:pt x="442" y="3778"/>
                  </a:lnTo>
                  <a:lnTo>
                    <a:pt x="408" y="3732"/>
                  </a:lnTo>
                  <a:lnTo>
                    <a:pt x="376" y="3684"/>
                  </a:lnTo>
                  <a:lnTo>
                    <a:pt x="346" y="3634"/>
                  </a:lnTo>
                  <a:lnTo>
                    <a:pt x="316" y="3584"/>
                  </a:lnTo>
                  <a:lnTo>
                    <a:pt x="288" y="3534"/>
                  </a:lnTo>
                  <a:lnTo>
                    <a:pt x="262" y="3482"/>
                  </a:lnTo>
                  <a:lnTo>
                    <a:pt x="236" y="3430"/>
                  </a:lnTo>
                  <a:lnTo>
                    <a:pt x="212" y="3378"/>
                  </a:lnTo>
                  <a:lnTo>
                    <a:pt x="188" y="3324"/>
                  </a:lnTo>
                  <a:lnTo>
                    <a:pt x="166" y="3270"/>
                  </a:lnTo>
                  <a:lnTo>
                    <a:pt x="144" y="3216"/>
                  </a:lnTo>
                  <a:lnTo>
                    <a:pt x="126" y="3160"/>
                  </a:lnTo>
                  <a:lnTo>
                    <a:pt x="108" y="3106"/>
                  </a:lnTo>
                  <a:lnTo>
                    <a:pt x="90" y="3048"/>
                  </a:lnTo>
                  <a:lnTo>
                    <a:pt x="74" y="2992"/>
                  </a:lnTo>
                  <a:lnTo>
                    <a:pt x="60" y="2934"/>
                  </a:lnTo>
                  <a:lnTo>
                    <a:pt x="48" y="2876"/>
                  </a:lnTo>
                  <a:lnTo>
                    <a:pt x="38" y="2818"/>
                  </a:lnTo>
                  <a:lnTo>
                    <a:pt x="28" y="2758"/>
                  </a:lnTo>
                  <a:lnTo>
                    <a:pt x="18" y="2698"/>
                  </a:lnTo>
                  <a:lnTo>
                    <a:pt x="12" y="2638"/>
                  </a:lnTo>
                  <a:lnTo>
                    <a:pt x="6" y="2578"/>
                  </a:lnTo>
                  <a:lnTo>
                    <a:pt x="2" y="2516"/>
                  </a:lnTo>
                  <a:lnTo>
                    <a:pt x="0" y="2456"/>
                  </a:lnTo>
                  <a:lnTo>
                    <a:pt x="0" y="2394"/>
                  </a:lnTo>
                  <a:lnTo>
                    <a:pt x="0" y="2394"/>
                  </a:lnTo>
                  <a:lnTo>
                    <a:pt x="0" y="2332"/>
                  </a:lnTo>
                  <a:lnTo>
                    <a:pt x="2" y="2270"/>
                  </a:lnTo>
                  <a:lnTo>
                    <a:pt x="6" y="2210"/>
                  </a:lnTo>
                  <a:lnTo>
                    <a:pt x="12" y="2148"/>
                  </a:lnTo>
                  <a:lnTo>
                    <a:pt x="18" y="2088"/>
                  </a:lnTo>
                  <a:lnTo>
                    <a:pt x="28" y="2030"/>
                  </a:lnTo>
                  <a:lnTo>
                    <a:pt x="38" y="1970"/>
                  </a:lnTo>
                  <a:lnTo>
                    <a:pt x="48" y="1912"/>
                  </a:lnTo>
                  <a:lnTo>
                    <a:pt x="60" y="1854"/>
                  </a:lnTo>
                  <a:lnTo>
                    <a:pt x="74" y="1796"/>
                  </a:lnTo>
                  <a:lnTo>
                    <a:pt x="90" y="1738"/>
                  </a:lnTo>
                  <a:lnTo>
                    <a:pt x="108" y="1682"/>
                  </a:lnTo>
                  <a:lnTo>
                    <a:pt x="126" y="1626"/>
                  </a:lnTo>
                  <a:lnTo>
                    <a:pt x="144" y="1570"/>
                  </a:lnTo>
                  <a:lnTo>
                    <a:pt x="166" y="1516"/>
                  </a:lnTo>
                  <a:lnTo>
                    <a:pt x="188" y="1462"/>
                  </a:lnTo>
                  <a:lnTo>
                    <a:pt x="212" y="1408"/>
                  </a:lnTo>
                  <a:lnTo>
                    <a:pt x="236" y="1356"/>
                  </a:lnTo>
                  <a:lnTo>
                    <a:pt x="262" y="1304"/>
                  </a:lnTo>
                  <a:lnTo>
                    <a:pt x="288" y="1252"/>
                  </a:lnTo>
                  <a:lnTo>
                    <a:pt x="316" y="1202"/>
                  </a:lnTo>
                  <a:lnTo>
                    <a:pt x="346" y="1152"/>
                  </a:lnTo>
                  <a:lnTo>
                    <a:pt x="376" y="1104"/>
                  </a:lnTo>
                  <a:lnTo>
                    <a:pt x="408" y="1056"/>
                  </a:lnTo>
                  <a:lnTo>
                    <a:pt x="442" y="1008"/>
                  </a:lnTo>
                  <a:lnTo>
                    <a:pt x="476" y="962"/>
                  </a:lnTo>
                  <a:lnTo>
                    <a:pt x="510" y="916"/>
                  </a:lnTo>
                  <a:lnTo>
                    <a:pt x="546" y="872"/>
                  </a:lnTo>
                  <a:lnTo>
                    <a:pt x="584" y="828"/>
                  </a:lnTo>
                  <a:lnTo>
                    <a:pt x="622" y="784"/>
                  </a:lnTo>
                  <a:lnTo>
                    <a:pt x="660" y="742"/>
                  </a:lnTo>
                  <a:lnTo>
                    <a:pt x="700" y="702"/>
                  </a:lnTo>
                  <a:lnTo>
                    <a:pt x="742" y="662"/>
                  </a:lnTo>
                  <a:lnTo>
                    <a:pt x="784" y="622"/>
                  </a:lnTo>
                  <a:lnTo>
                    <a:pt x="826" y="584"/>
                  </a:lnTo>
                  <a:lnTo>
                    <a:pt x="870" y="548"/>
                  </a:lnTo>
                  <a:lnTo>
                    <a:pt x="916" y="512"/>
                  </a:lnTo>
                  <a:lnTo>
                    <a:pt x="960" y="476"/>
                  </a:lnTo>
                  <a:lnTo>
                    <a:pt x="1008" y="442"/>
                  </a:lnTo>
                  <a:lnTo>
                    <a:pt x="1054" y="410"/>
                  </a:lnTo>
                  <a:lnTo>
                    <a:pt x="1102" y="378"/>
                  </a:lnTo>
                  <a:lnTo>
                    <a:pt x="1152" y="348"/>
                  </a:lnTo>
                  <a:lnTo>
                    <a:pt x="1202" y="318"/>
                  </a:lnTo>
                  <a:lnTo>
                    <a:pt x="1252" y="290"/>
                  </a:lnTo>
                  <a:lnTo>
                    <a:pt x="1304" y="262"/>
                  </a:lnTo>
                  <a:lnTo>
                    <a:pt x="1356" y="236"/>
                  </a:lnTo>
                  <a:lnTo>
                    <a:pt x="1408" y="212"/>
                  </a:lnTo>
                  <a:lnTo>
                    <a:pt x="1462" y="188"/>
                  </a:lnTo>
                  <a:lnTo>
                    <a:pt x="1516" y="166"/>
                  </a:lnTo>
                  <a:lnTo>
                    <a:pt x="1570" y="146"/>
                  </a:lnTo>
                  <a:lnTo>
                    <a:pt x="1626" y="126"/>
                  </a:lnTo>
                  <a:lnTo>
                    <a:pt x="1680" y="108"/>
                  </a:lnTo>
                  <a:lnTo>
                    <a:pt x="1738" y="92"/>
                  </a:lnTo>
                  <a:lnTo>
                    <a:pt x="1794" y="76"/>
                  </a:lnTo>
                  <a:lnTo>
                    <a:pt x="1852" y="62"/>
                  </a:lnTo>
                  <a:lnTo>
                    <a:pt x="1910" y="50"/>
                  </a:lnTo>
                  <a:lnTo>
                    <a:pt x="1968" y="38"/>
                  </a:lnTo>
                  <a:lnTo>
                    <a:pt x="2028" y="28"/>
                  </a:lnTo>
                  <a:lnTo>
                    <a:pt x="2088" y="20"/>
                  </a:lnTo>
                  <a:lnTo>
                    <a:pt x="2148" y="14"/>
                  </a:lnTo>
                  <a:lnTo>
                    <a:pt x="2208" y="8"/>
                  </a:lnTo>
                  <a:lnTo>
                    <a:pt x="2270" y="4"/>
                  </a:lnTo>
                  <a:lnTo>
                    <a:pt x="2330" y="2"/>
                  </a:lnTo>
                  <a:lnTo>
                    <a:pt x="2392" y="0"/>
                  </a:lnTo>
                  <a:lnTo>
                    <a:pt x="2392" y="0"/>
                  </a:lnTo>
                  <a:lnTo>
                    <a:pt x="2454" y="2"/>
                  </a:lnTo>
                  <a:lnTo>
                    <a:pt x="2516" y="4"/>
                  </a:lnTo>
                  <a:lnTo>
                    <a:pt x="2576" y="8"/>
                  </a:lnTo>
                  <a:lnTo>
                    <a:pt x="2638" y="14"/>
                  </a:lnTo>
                  <a:lnTo>
                    <a:pt x="2698" y="20"/>
                  </a:lnTo>
                  <a:lnTo>
                    <a:pt x="2756" y="28"/>
                  </a:lnTo>
                  <a:lnTo>
                    <a:pt x="2816" y="38"/>
                  </a:lnTo>
                  <a:lnTo>
                    <a:pt x="2874" y="50"/>
                  </a:lnTo>
                  <a:lnTo>
                    <a:pt x="2932" y="62"/>
                  </a:lnTo>
                  <a:lnTo>
                    <a:pt x="2990" y="76"/>
                  </a:lnTo>
                  <a:lnTo>
                    <a:pt x="3048" y="92"/>
                  </a:lnTo>
                  <a:lnTo>
                    <a:pt x="3104" y="108"/>
                  </a:lnTo>
                  <a:lnTo>
                    <a:pt x="3160" y="126"/>
                  </a:lnTo>
                  <a:lnTo>
                    <a:pt x="3216" y="146"/>
                  </a:lnTo>
                  <a:lnTo>
                    <a:pt x="3270" y="166"/>
                  </a:lnTo>
                  <a:lnTo>
                    <a:pt x="3324" y="188"/>
                  </a:lnTo>
                  <a:lnTo>
                    <a:pt x="3378" y="212"/>
                  </a:lnTo>
                  <a:lnTo>
                    <a:pt x="3430" y="236"/>
                  </a:lnTo>
                  <a:lnTo>
                    <a:pt x="3482" y="262"/>
                  </a:lnTo>
                  <a:lnTo>
                    <a:pt x="3534" y="290"/>
                  </a:lnTo>
                  <a:lnTo>
                    <a:pt x="3584" y="318"/>
                  </a:lnTo>
                  <a:lnTo>
                    <a:pt x="3634" y="348"/>
                  </a:lnTo>
                  <a:lnTo>
                    <a:pt x="3682" y="378"/>
                  </a:lnTo>
                  <a:lnTo>
                    <a:pt x="3730" y="410"/>
                  </a:lnTo>
                  <a:lnTo>
                    <a:pt x="3778" y="442"/>
                  </a:lnTo>
                  <a:lnTo>
                    <a:pt x="3824" y="476"/>
                  </a:lnTo>
                  <a:lnTo>
                    <a:pt x="3870" y="512"/>
                  </a:lnTo>
                  <a:lnTo>
                    <a:pt x="3914" y="548"/>
                  </a:lnTo>
                  <a:lnTo>
                    <a:pt x="3958" y="584"/>
                  </a:lnTo>
                  <a:lnTo>
                    <a:pt x="4002" y="622"/>
                  </a:lnTo>
                  <a:lnTo>
                    <a:pt x="4044" y="662"/>
                  </a:lnTo>
                  <a:lnTo>
                    <a:pt x="4084" y="702"/>
                  </a:lnTo>
                  <a:lnTo>
                    <a:pt x="4124" y="742"/>
                  </a:lnTo>
                  <a:lnTo>
                    <a:pt x="4164" y="784"/>
                  </a:lnTo>
                  <a:lnTo>
                    <a:pt x="4202" y="828"/>
                  </a:lnTo>
                  <a:lnTo>
                    <a:pt x="4238" y="872"/>
                  </a:lnTo>
                  <a:lnTo>
                    <a:pt x="4274" y="916"/>
                  </a:lnTo>
                  <a:lnTo>
                    <a:pt x="4310" y="962"/>
                  </a:lnTo>
                  <a:lnTo>
                    <a:pt x="4344" y="1008"/>
                  </a:lnTo>
                  <a:lnTo>
                    <a:pt x="4376" y="1056"/>
                  </a:lnTo>
                  <a:lnTo>
                    <a:pt x="4408" y="1104"/>
                  </a:lnTo>
                  <a:lnTo>
                    <a:pt x="4438" y="1152"/>
                  </a:lnTo>
                  <a:lnTo>
                    <a:pt x="4468" y="1202"/>
                  </a:lnTo>
                  <a:lnTo>
                    <a:pt x="4496" y="1252"/>
                  </a:lnTo>
                  <a:lnTo>
                    <a:pt x="4524" y="1304"/>
                  </a:lnTo>
                  <a:lnTo>
                    <a:pt x="4550" y="1356"/>
                  </a:lnTo>
                  <a:lnTo>
                    <a:pt x="4574" y="1408"/>
                  </a:lnTo>
                  <a:lnTo>
                    <a:pt x="4598" y="1462"/>
                  </a:lnTo>
                  <a:lnTo>
                    <a:pt x="4620" y="1516"/>
                  </a:lnTo>
                  <a:lnTo>
                    <a:pt x="4640" y="1570"/>
                  </a:lnTo>
                  <a:lnTo>
                    <a:pt x="4660" y="1626"/>
                  </a:lnTo>
                  <a:lnTo>
                    <a:pt x="4678" y="1682"/>
                  </a:lnTo>
                  <a:lnTo>
                    <a:pt x="4694" y="1738"/>
                  </a:lnTo>
                  <a:lnTo>
                    <a:pt x="4710" y="1796"/>
                  </a:lnTo>
                  <a:lnTo>
                    <a:pt x="4724" y="1854"/>
                  </a:lnTo>
                  <a:lnTo>
                    <a:pt x="4736" y="1912"/>
                  </a:lnTo>
                  <a:lnTo>
                    <a:pt x="4748" y="1970"/>
                  </a:lnTo>
                  <a:lnTo>
                    <a:pt x="4758" y="2030"/>
                  </a:lnTo>
                  <a:lnTo>
                    <a:pt x="4766" y="2088"/>
                  </a:lnTo>
                  <a:lnTo>
                    <a:pt x="4772" y="2148"/>
                  </a:lnTo>
                  <a:lnTo>
                    <a:pt x="4778" y="2210"/>
                  </a:lnTo>
                  <a:lnTo>
                    <a:pt x="4782" y="2270"/>
                  </a:lnTo>
                  <a:lnTo>
                    <a:pt x="4784" y="2332"/>
                  </a:lnTo>
                  <a:lnTo>
                    <a:pt x="4786" y="2394"/>
                  </a:lnTo>
                  <a:lnTo>
                    <a:pt x="4786" y="2394"/>
                  </a:lnTo>
                  <a:close/>
                </a:path>
              </a:pathLst>
            </a:custGeom>
            <a:solidFill>
              <a:schemeClr val="tx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79" name="Group 247">
              <a:extLst>
                <a:ext uri="{FF2B5EF4-FFF2-40B4-BE49-F238E27FC236}">
                  <a16:creationId xmlns:a16="http://schemas.microsoft.com/office/drawing/2014/main" id="{80633CB2-D615-4409-BF58-34142EAA7DC3}"/>
                </a:ext>
              </a:extLst>
            </p:cNvPr>
            <p:cNvGrpSpPr/>
            <p:nvPr/>
          </p:nvGrpSpPr>
          <p:grpSpPr>
            <a:xfrm>
              <a:off x="943635" y="4566768"/>
              <a:ext cx="451244" cy="524924"/>
              <a:chOff x="-4678363" y="3956050"/>
              <a:chExt cx="1117600" cy="1122363"/>
            </a:xfrm>
            <a:solidFill>
              <a:srgbClr val="F2F2F2"/>
            </a:solidFill>
          </p:grpSpPr>
          <p:sp>
            <p:nvSpPr>
              <p:cNvPr id="80" name="Freeform 150">
                <a:extLst>
                  <a:ext uri="{FF2B5EF4-FFF2-40B4-BE49-F238E27FC236}">
                    <a16:creationId xmlns:a16="http://schemas.microsoft.com/office/drawing/2014/main" id="{4F7BDDA3-EA18-4FBF-B987-B234ADA34262}"/>
                  </a:ext>
                </a:extLst>
              </p:cNvPr>
              <p:cNvSpPr>
                <a:spLocks noEditPoints="1"/>
              </p:cNvSpPr>
              <p:nvPr/>
            </p:nvSpPr>
            <p:spPr bwMode="auto">
              <a:xfrm>
                <a:off x="-4678363" y="3956050"/>
                <a:ext cx="982662" cy="965200"/>
              </a:xfrm>
              <a:custGeom>
                <a:avLst/>
                <a:gdLst/>
                <a:ahLst/>
                <a:cxnLst>
                  <a:cxn ang="0">
                    <a:pos x="200" y="56"/>
                  </a:cxn>
                  <a:cxn ang="0">
                    <a:pos x="217" y="17"/>
                  </a:cxn>
                  <a:cxn ang="0">
                    <a:pos x="255" y="0"/>
                  </a:cxn>
                  <a:cxn ang="0">
                    <a:pos x="286" y="10"/>
                  </a:cxn>
                  <a:cxn ang="0">
                    <a:pos x="309" y="44"/>
                  </a:cxn>
                  <a:cxn ang="0">
                    <a:pos x="309" y="305"/>
                  </a:cxn>
                  <a:cxn ang="0">
                    <a:pos x="286" y="340"/>
                  </a:cxn>
                  <a:cxn ang="0">
                    <a:pos x="255" y="349"/>
                  </a:cxn>
                  <a:cxn ang="0">
                    <a:pos x="217" y="333"/>
                  </a:cxn>
                  <a:cxn ang="0">
                    <a:pos x="200" y="294"/>
                  </a:cxn>
                  <a:cxn ang="0">
                    <a:pos x="1139" y="455"/>
                  </a:cxn>
                  <a:cxn ang="0">
                    <a:pos x="1145" y="150"/>
                  </a:cxn>
                  <a:cxn ang="0">
                    <a:pos x="1173" y="154"/>
                  </a:cxn>
                  <a:cxn ang="0">
                    <a:pos x="1204" y="172"/>
                  </a:cxn>
                  <a:cxn ang="0">
                    <a:pos x="1228" y="200"/>
                  </a:cxn>
                  <a:cxn ang="0">
                    <a:pos x="1239" y="234"/>
                  </a:cxn>
                  <a:cxn ang="0">
                    <a:pos x="1216" y="707"/>
                  </a:cxn>
                  <a:cxn ang="0">
                    <a:pos x="1139" y="521"/>
                  </a:cxn>
                  <a:cxn ang="0">
                    <a:pos x="674" y="1117"/>
                  </a:cxn>
                  <a:cxn ang="0">
                    <a:pos x="699" y="1217"/>
                  </a:cxn>
                  <a:cxn ang="0">
                    <a:pos x="75" y="1215"/>
                  </a:cxn>
                  <a:cxn ang="0">
                    <a:pos x="42" y="1201"/>
                  </a:cxn>
                  <a:cxn ang="0">
                    <a:pos x="23" y="1182"/>
                  </a:cxn>
                  <a:cxn ang="0">
                    <a:pos x="5" y="1150"/>
                  </a:cxn>
                  <a:cxn ang="0">
                    <a:pos x="0" y="244"/>
                  </a:cxn>
                  <a:cxn ang="0">
                    <a:pos x="5" y="216"/>
                  </a:cxn>
                  <a:cxn ang="0">
                    <a:pos x="23" y="184"/>
                  </a:cxn>
                  <a:cxn ang="0">
                    <a:pos x="50" y="162"/>
                  </a:cxn>
                  <a:cxn ang="0">
                    <a:pos x="85" y="151"/>
                  </a:cxn>
                  <a:cxn ang="0">
                    <a:pos x="638" y="294"/>
                  </a:cxn>
                  <a:cxn ang="0">
                    <a:pos x="621" y="333"/>
                  </a:cxn>
                  <a:cxn ang="0">
                    <a:pos x="582" y="349"/>
                  </a:cxn>
                  <a:cxn ang="0">
                    <a:pos x="552" y="340"/>
                  </a:cxn>
                  <a:cxn ang="0">
                    <a:pos x="528" y="305"/>
                  </a:cxn>
                  <a:cxn ang="0">
                    <a:pos x="377" y="150"/>
                  </a:cxn>
                  <a:cxn ang="0">
                    <a:pos x="528" y="44"/>
                  </a:cxn>
                  <a:cxn ang="0">
                    <a:pos x="552" y="10"/>
                  </a:cxn>
                  <a:cxn ang="0">
                    <a:pos x="582" y="0"/>
                  </a:cxn>
                  <a:cxn ang="0">
                    <a:pos x="621" y="17"/>
                  </a:cxn>
                  <a:cxn ang="0">
                    <a:pos x="638" y="56"/>
                  </a:cxn>
                  <a:cxn ang="0">
                    <a:pos x="965" y="294"/>
                  </a:cxn>
                  <a:cxn ang="0">
                    <a:pos x="948" y="333"/>
                  </a:cxn>
                  <a:cxn ang="0">
                    <a:pos x="909" y="349"/>
                  </a:cxn>
                  <a:cxn ang="0">
                    <a:pos x="877" y="340"/>
                  </a:cxn>
                  <a:cxn ang="0">
                    <a:pos x="855" y="305"/>
                  </a:cxn>
                  <a:cxn ang="0">
                    <a:pos x="704" y="150"/>
                  </a:cxn>
                  <a:cxn ang="0">
                    <a:pos x="855" y="44"/>
                  </a:cxn>
                  <a:cxn ang="0">
                    <a:pos x="877" y="10"/>
                  </a:cxn>
                  <a:cxn ang="0">
                    <a:pos x="909" y="0"/>
                  </a:cxn>
                  <a:cxn ang="0">
                    <a:pos x="948" y="17"/>
                  </a:cxn>
                  <a:cxn ang="0">
                    <a:pos x="965" y="56"/>
                  </a:cxn>
                </a:cxnLst>
                <a:rect l="0" t="0" r="r" b="b"/>
                <a:pathLst>
                  <a:path w="1239" h="1217">
                    <a:moveTo>
                      <a:pt x="95" y="150"/>
                    </a:moveTo>
                    <a:lnTo>
                      <a:pt x="200" y="150"/>
                    </a:lnTo>
                    <a:lnTo>
                      <a:pt x="200" y="56"/>
                    </a:lnTo>
                    <a:lnTo>
                      <a:pt x="200" y="56"/>
                    </a:lnTo>
                    <a:lnTo>
                      <a:pt x="201" y="44"/>
                    </a:lnTo>
                    <a:lnTo>
                      <a:pt x="204" y="35"/>
                    </a:lnTo>
                    <a:lnTo>
                      <a:pt x="210" y="25"/>
                    </a:lnTo>
                    <a:lnTo>
                      <a:pt x="217" y="17"/>
                    </a:lnTo>
                    <a:lnTo>
                      <a:pt x="223" y="10"/>
                    </a:lnTo>
                    <a:lnTo>
                      <a:pt x="233" y="4"/>
                    </a:lnTo>
                    <a:lnTo>
                      <a:pt x="244" y="1"/>
                    </a:lnTo>
                    <a:lnTo>
                      <a:pt x="255" y="0"/>
                    </a:lnTo>
                    <a:lnTo>
                      <a:pt x="255" y="0"/>
                    </a:lnTo>
                    <a:lnTo>
                      <a:pt x="266" y="1"/>
                    </a:lnTo>
                    <a:lnTo>
                      <a:pt x="276" y="4"/>
                    </a:lnTo>
                    <a:lnTo>
                      <a:pt x="286" y="10"/>
                    </a:lnTo>
                    <a:lnTo>
                      <a:pt x="294" y="17"/>
                    </a:lnTo>
                    <a:lnTo>
                      <a:pt x="301" y="25"/>
                    </a:lnTo>
                    <a:lnTo>
                      <a:pt x="307" y="35"/>
                    </a:lnTo>
                    <a:lnTo>
                      <a:pt x="309" y="44"/>
                    </a:lnTo>
                    <a:lnTo>
                      <a:pt x="311" y="56"/>
                    </a:lnTo>
                    <a:lnTo>
                      <a:pt x="311" y="294"/>
                    </a:lnTo>
                    <a:lnTo>
                      <a:pt x="311" y="294"/>
                    </a:lnTo>
                    <a:lnTo>
                      <a:pt x="309" y="305"/>
                    </a:lnTo>
                    <a:lnTo>
                      <a:pt x="307" y="316"/>
                    </a:lnTo>
                    <a:lnTo>
                      <a:pt x="301" y="326"/>
                    </a:lnTo>
                    <a:lnTo>
                      <a:pt x="294" y="333"/>
                    </a:lnTo>
                    <a:lnTo>
                      <a:pt x="286" y="340"/>
                    </a:lnTo>
                    <a:lnTo>
                      <a:pt x="276" y="345"/>
                    </a:lnTo>
                    <a:lnTo>
                      <a:pt x="266" y="348"/>
                    </a:lnTo>
                    <a:lnTo>
                      <a:pt x="255" y="349"/>
                    </a:lnTo>
                    <a:lnTo>
                      <a:pt x="255" y="349"/>
                    </a:lnTo>
                    <a:lnTo>
                      <a:pt x="244" y="348"/>
                    </a:lnTo>
                    <a:lnTo>
                      <a:pt x="233" y="345"/>
                    </a:lnTo>
                    <a:lnTo>
                      <a:pt x="223" y="340"/>
                    </a:lnTo>
                    <a:lnTo>
                      <a:pt x="217" y="333"/>
                    </a:lnTo>
                    <a:lnTo>
                      <a:pt x="210" y="326"/>
                    </a:lnTo>
                    <a:lnTo>
                      <a:pt x="204" y="316"/>
                    </a:lnTo>
                    <a:lnTo>
                      <a:pt x="201" y="305"/>
                    </a:lnTo>
                    <a:lnTo>
                      <a:pt x="200" y="294"/>
                    </a:lnTo>
                    <a:lnTo>
                      <a:pt x="200" y="249"/>
                    </a:lnTo>
                    <a:lnTo>
                      <a:pt x="100" y="249"/>
                    </a:lnTo>
                    <a:lnTo>
                      <a:pt x="100" y="455"/>
                    </a:lnTo>
                    <a:lnTo>
                      <a:pt x="1139" y="455"/>
                    </a:lnTo>
                    <a:lnTo>
                      <a:pt x="1139" y="249"/>
                    </a:lnTo>
                    <a:lnTo>
                      <a:pt x="1030" y="249"/>
                    </a:lnTo>
                    <a:lnTo>
                      <a:pt x="1031" y="150"/>
                    </a:lnTo>
                    <a:lnTo>
                      <a:pt x="1145" y="150"/>
                    </a:lnTo>
                    <a:lnTo>
                      <a:pt x="1145" y="150"/>
                    </a:lnTo>
                    <a:lnTo>
                      <a:pt x="1155" y="151"/>
                    </a:lnTo>
                    <a:lnTo>
                      <a:pt x="1164" y="153"/>
                    </a:lnTo>
                    <a:lnTo>
                      <a:pt x="1173" y="154"/>
                    </a:lnTo>
                    <a:lnTo>
                      <a:pt x="1181" y="158"/>
                    </a:lnTo>
                    <a:lnTo>
                      <a:pt x="1189" y="162"/>
                    </a:lnTo>
                    <a:lnTo>
                      <a:pt x="1198" y="166"/>
                    </a:lnTo>
                    <a:lnTo>
                      <a:pt x="1204" y="172"/>
                    </a:lnTo>
                    <a:lnTo>
                      <a:pt x="1211" y="177"/>
                    </a:lnTo>
                    <a:lnTo>
                      <a:pt x="1217" y="184"/>
                    </a:lnTo>
                    <a:lnTo>
                      <a:pt x="1222" y="191"/>
                    </a:lnTo>
                    <a:lnTo>
                      <a:pt x="1228" y="200"/>
                    </a:lnTo>
                    <a:lnTo>
                      <a:pt x="1232" y="208"/>
                    </a:lnTo>
                    <a:lnTo>
                      <a:pt x="1235" y="216"/>
                    </a:lnTo>
                    <a:lnTo>
                      <a:pt x="1236" y="226"/>
                    </a:lnTo>
                    <a:lnTo>
                      <a:pt x="1239" y="234"/>
                    </a:lnTo>
                    <a:lnTo>
                      <a:pt x="1239" y="244"/>
                    </a:lnTo>
                    <a:lnTo>
                      <a:pt x="1239" y="718"/>
                    </a:lnTo>
                    <a:lnTo>
                      <a:pt x="1239" y="718"/>
                    </a:lnTo>
                    <a:lnTo>
                      <a:pt x="1216" y="707"/>
                    </a:lnTo>
                    <a:lnTo>
                      <a:pt x="1191" y="697"/>
                    </a:lnTo>
                    <a:lnTo>
                      <a:pt x="1164" y="690"/>
                    </a:lnTo>
                    <a:lnTo>
                      <a:pt x="1139" y="683"/>
                    </a:lnTo>
                    <a:lnTo>
                      <a:pt x="1139" y="521"/>
                    </a:lnTo>
                    <a:lnTo>
                      <a:pt x="100" y="521"/>
                    </a:lnTo>
                    <a:lnTo>
                      <a:pt x="100" y="1117"/>
                    </a:lnTo>
                    <a:lnTo>
                      <a:pt x="674" y="1117"/>
                    </a:lnTo>
                    <a:lnTo>
                      <a:pt x="674" y="1117"/>
                    </a:lnTo>
                    <a:lnTo>
                      <a:pt x="678" y="1143"/>
                    </a:lnTo>
                    <a:lnTo>
                      <a:pt x="683" y="1168"/>
                    </a:lnTo>
                    <a:lnTo>
                      <a:pt x="690" y="1193"/>
                    </a:lnTo>
                    <a:lnTo>
                      <a:pt x="699" y="1217"/>
                    </a:lnTo>
                    <a:lnTo>
                      <a:pt x="95" y="1217"/>
                    </a:lnTo>
                    <a:lnTo>
                      <a:pt x="95" y="1217"/>
                    </a:lnTo>
                    <a:lnTo>
                      <a:pt x="85" y="1217"/>
                    </a:lnTo>
                    <a:lnTo>
                      <a:pt x="75" y="1215"/>
                    </a:lnTo>
                    <a:lnTo>
                      <a:pt x="67" y="1212"/>
                    </a:lnTo>
                    <a:lnTo>
                      <a:pt x="59" y="1210"/>
                    </a:lnTo>
                    <a:lnTo>
                      <a:pt x="50" y="1205"/>
                    </a:lnTo>
                    <a:lnTo>
                      <a:pt x="42" y="1201"/>
                    </a:lnTo>
                    <a:lnTo>
                      <a:pt x="35" y="1196"/>
                    </a:lnTo>
                    <a:lnTo>
                      <a:pt x="28" y="1189"/>
                    </a:lnTo>
                    <a:lnTo>
                      <a:pt x="28" y="1189"/>
                    </a:lnTo>
                    <a:lnTo>
                      <a:pt x="23" y="1182"/>
                    </a:lnTo>
                    <a:lnTo>
                      <a:pt x="17" y="1175"/>
                    </a:lnTo>
                    <a:lnTo>
                      <a:pt x="11" y="1168"/>
                    </a:lnTo>
                    <a:lnTo>
                      <a:pt x="9" y="1160"/>
                    </a:lnTo>
                    <a:lnTo>
                      <a:pt x="5" y="1150"/>
                    </a:lnTo>
                    <a:lnTo>
                      <a:pt x="3" y="1142"/>
                    </a:lnTo>
                    <a:lnTo>
                      <a:pt x="0" y="1132"/>
                    </a:lnTo>
                    <a:lnTo>
                      <a:pt x="0" y="1122"/>
                    </a:lnTo>
                    <a:lnTo>
                      <a:pt x="0" y="244"/>
                    </a:lnTo>
                    <a:lnTo>
                      <a:pt x="0" y="244"/>
                    </a:lnTo>
                    <a:lnTo>
                      <a:pt x="0" y="234"/>
                    </a:lnTo>
                    <a:lnTo>
                      <a:pt x="3" y="226"/>
                    </a:lnTo>
                    <a:lnTo>
                      <a:pt x="5" y="216"/>
                    </a:lnTo>
                    <a:lnTo>
                      <a:pt x="7" y="208"/>
                    </a:lnTo>
                    <a:lnTo>
                      <a:pt x="11" y="200"/>
                    </a:lnTo>
                    <a:lnTo>
                      <a:pt x="17" y="191"/>
                    </a:lnTo>
                    <a:lnTo>
                      <a:pt x="23" y="184"/>
                    </a:lnTo>
                    <a:lnTo>
                      <a:pt x="28" y="177"/>
                    </a:lnTo>
                    <a:lnTo>
                      <a:pt x="35" y="172"/>
                    </a:lnTo>
                    <a:lnTo>
                      <a:pt x="42" y="166"/>
                    </a:lnTo>
                    <a:lnTo>
                      <a:pt x="50" y="162"/>
                    </a:lnTo>
                    <a:lnTo>
                      <a:pt x="59" y="158"/>
                    </a:lnTo>
                    <a:lnTo>
                      <a:pt x="67" y="154"/>
                    </a:lnTo>
                    <a:lnTo>
                      <a:pt x="75" y="153"/>
                    </a:lnTo>
                    <a:lnTo>
                      <a:pt x="85" y="151"/>
                    </a:lnTo>
                    <a:lnTo>
                      <a:pt x="95" y="150"/>
                    </a:lnTo>
                    <a:lnTo>
                      <a:pt x="95" y="150"/>
                    </a:lnTo>
                    <a:close/>
                    <a:moveTo>
                      <a:pt x="638" y="294"/>
                    </a:moveTo>
                    <a:lnTo>
                      <a:pt x="638" y="294"/>
                    </a:lnTo>
                    <a:lnTo>
                      <a:pt x="636" y="305"/>
                    </a:lnTo>
                    <a:lnTo>
                      <a:pt x="634" y="315"/>
                    </a:lnTo>
                    <a:lnTo>
                      <a:pt x="628" y="324"/>
                    </a:lnTo>
                    <a:lnTo>
                      <a:pt x="621" y="333"/>
                    </a:lnTo>
                    <a:lnTo>
                      <a:pt x="613" y="340"/>
                    </a:lnTo>
                    <a:lnTo>
                      <a:pt x="605" y="345"/>
                    </a:lnTo>
                    <a:lnTo>
                      <a:pt x="593" y="348"/>
                    </a:lnTo>
                    <a:lnTo>
                      <a:pt x="582" y="349"/>
                    </a:lnTo>
                    <a:lnTo>
                      <a:pt x="582" y="349"/>
                    </a:lnTo>
                    <a:lnTo>
                      <a:pt x="571" y="348"/>
                    </a:lnTo>
                    <a:lnTo>
                      <a:pt x="560" y="345"/>
                    </a:lnTo>
                    <a:lnTo>
                      <a:pt x="552" y="340"/>
                    </a:lnTo>
                    <a:lnTo>
                      <a:pt x="544" y="333"/>
                    </a:lnTo>
                    <a:lnTo>
                      <a:pt x="537" y="324"/>
                    </a:lnTo>
                    <a:lnTo>
                      <a:pt x="531" y="315"/>
                    </a:lnTo>
                    <a:lnTo>
                      <a:pt x="528" y="305"/>
                    </a:lnTo>
                    <a:lnTo>
                      <a:pt x="527" y="294"/>
                    </a:lnTo>
                    <a:lnTo>
                      <a:pt x="527" y="249"/>
                    </a:lnTo>
                    <a:lnTo>
                      <a:pt x="376" y="249"/>
                    </a:lnTo>
                    <a:lnTo>
                      <a:pt x="377" y="150"/>
                    </a:lnTo>
                    <a:lnTo>
                      <a:pt x="527" y="150"/>
                    </a:lnTo>
                    <a:lnTo>
                      <a:pt x="527" y="56"/>
                    </a:lnTo>
                    <a:lnTo>
                      <a:pt x="527" y="56"/>
                    </a:lnTo>
                    <a:lnTo>
                      <a:pt x="528" y="44"/>
                    </a:lnTo>
                    <a:lnTo>
                      <a:pt x="531" y="33"/>
                    </a:lnTo>
                    <a:lnTo>
                      <a:pt x="537" y="24"/>
                    </a:lnTo>
                    <a:lnTo>
                      <a:pt x="544" y="17"/>
                    </a:lnTo>
                    <a:lnTo>
                      <a:pt x="552" y="10"/>
                    </a:lnTo>
                    <a:lnTo>
                      <a:pt x="560" y="4"/>
                    </a:lnTo>
                    <a:lnTo>
                      <a:pt x="571" y="1"/>
                    </a:lnTo>
                    <a:lnTo>
                      <a:pt x="582" y="0"/>
                    </a:lnTo>
                    <a:lnTo>
                      <a:pt x="582" y="0"/>
                    </a:lnTo>
                    <a:lnTo>
                      <a:pt x="593" y="1"/>
                    </a:lnTo>
                    <a:lnTo>
                      <a:pt x="605" y="4"/>
                    </a:lnTo>
                    <a:lnTo>
                      <a:pt x="613" y="10"/>
                    </a:lnTo>
                    <a:lnTo>
                      <a:pt x="621" y="17"/>
                    </a:lnTo>
                    <a:lnTo>
                      <a:pt x="628" y="24"/>
                    </a:lnTo>
                    <a:lnTo>
                      <a:pt x="634" y="33"/>
                    </a:lnTo>
                    <a:lnTo>
                      <a:pt x="636" y="44"/>
                    </a:lnTo>
                    <a:lnTo>
                      <a:pt x="638" y="56"/>
                    </a:lnTo>
                    <a:lnTo>
                      <a:pt x="638" y="294"/>
                    </a:lnTo>
                    <a:lnTo>
                      <a:pt x="638" y="294"/>
                    </a:lnTo>
                    <a:close/>
                    <a:moveTo>
                      <a:pt x="965" y="294"/>
                    </a:moveTo>
                    <a:lnTo>
                      <a:pt x="965" y="294"/>
                    </a:lnTo>
                    <a:lnTo>
                      <a:pt x="963" y="305"/>
                    </a:lnTo>
                    <a:lnTo>
                      <a:pt x="961" y="316"/>
                    </a:lnTo>
                    <a:lnTo>
                      <a:pt x="955" y="326"/>
                    </a:lnTo>
                    <a:lnTo>
                      <a:pt x="948" y="333"/>
                    </a:lnTo>
                    <a:lnTo>
                      <a:pt x="940" y="340"/>
                    </a:lnTo>
                    <a:lnTo>
                      <a:pt x="930" y="345"/>
                    </a:lnTo>
                    <a:lnTo>
                      <a:pt x="920" y="348"/>
                    </a:lnTo>
                    <a:lnTo>
                      <a:pt x="909" y="349"/>
                    </a:lnTo>
                    <a:lnTo>
                      <a:pt x="909" y="349"/>
                    </a:lnTo>
                    <a:lnTo>
                      <a:pt x="898" y="348"/>
                    </a:lnTo>
                    <a:lnTo>
                      <a:pt x="887" y="345"/>
                    </a:lnTo>
                    <a:lnTo>
                      <a:pt x="877" y="340"/>
                    </a:lnTo>
                    <a:lnTo>
                      <a:pt x="871" y="333"/>
                    </a:lnTo>
                    <a:lnTo>
                      <a:pt x="864" y="326"/>
                    </a:lnTo>
                    <a:lnTo>
                      <a:pt x="858" y="316"/>
                    </a:lnTo>
                    <a:lnTo>
                      <a:pt x="855" y="305"/>
                    </a:lnTo>
                    <a:lnTo>
                      <a:pt x="854" y="294"/>
                    </a:lnTo>
                    <a:lnTo>
                      <a:pt x="854" y="249"/>
                    </a:lnTo>
                    <a:lnTo>
                      <a:pt x="704" y="249"/>
                    </a:lnTo>
                    <a:lnTo>
                      <a:pt x="704" y="150"/>
                    </a:lnTo>
                    <a:lnTo>
                      <a:pt x="854" y="150"/>
                    </a:lnTo>
                    <a:lnTo>
                      <a:pt x="854" y="56"/>
                    </a:lnTo>
                    <a:lnTo>
                      <a:pt x="854" y="56"/>
                    </a:lnTo>
                    <a:lnTo>
                      <a:pt x="855" y="44"/>
                    </a:lnTo>
                    <a:lnTo>
                      <a:pt x="858" y="35"/>
                    </a:lnTo>
                    <a:lnTo>
                      <a:pt x="864" y="25"/>
                    </a:lnTo>
                    <a:lnTo>
                      <a:pt x="871" y="17"/>
                    </a:lnTo>
                    <a:lnTo>
                      <a:pt x="877" y="10"/>
                    </a:lnTo>
                    <a:lnTo>
                      <a:pt x="887" y="4"/>
                    </a:lnTo>
                    <a:lnTo>
                      <a:pt x="898" y="1"/>
                    </a:lnTo>
                    <a:lnTo>
                      <a:pt x="909" y="0"/>
                    </a:lnTo>
                    <a:lnTo>
                      <a:pt x="909" y="0"/>
                    </a:lnTo>
                    <a:lnTo>
                      <a:pt x="920" y="1"/>
                    </a:lnTo>
                    <a:lnTo>
                      <a:pt x="930" y="4"/>
                    </a:lnTo>
                    <a:lnTo>
                      <a:pt x="940" y="10"/>
                    </a:lnTo>
                    <a:lnTo>
                      <a:pt x="948" y="17"/>
                    </a:lnTo>
                    <a:lnTo>
                      <a:pt x="955" y="25"/>
                    </a:lnTo>
                    <a:lnTo>
                      <a:pt x="961" y="35"/>
                    </a:lnTo>
                    <a:lnTo>
                      <a:pt x="963" y="44"/>
                    </a:lnTo>
                    <a:lnTo>
                      <a:pt x="965" y="56"/>
                    </a:lnTo>
                    <a:lnTo>
                      <a:pt x="965" y="294"/>
                    </a:lnTo>
                    <a:lnTo>
                      <a:pt x="965" y="2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1" name="Freeform 151">
                <a:extLst>
                  <a:ext uri="{FF2B5EF4-FFF2-40B4-BE49-F238E27FC236}">
                    <a16:creationId xmlns:a16="http://schemas.microsoft.com/office/drawing/2014/main" id="{75005382-8671-4A4D-854B-015DB4DFAD53}"/>
                  </a:ext>
                </a:extLst>
              </p:cNvPr>
              <p:cNvSpPr>
                <a:spLocks noEditPoints="1"/>
              </p:cNvSpPr>
              <p:nvPr/>
            </p:nvSpPr>
            <p:spPr bwMode="auto">
              <a:xfrm>
                <a:off x="-4476750" y="4484688"/>
                <a:ext cx="579437" cy="246063"/>
              </a:xfrm>
              <a:custGeom>
                <a:avLst/>
                <a:gdLst/>
                <a:ahLst/>
                <a:cxnLst>
                  <a:cxn ang="0">
                    <a:pos x="153" y="2"/>
                  </a:cxn>
                  <a:cxn ang="0">
                    <a:pos x="172" y="14"/>
                  </a:cxn>
                  <a:cxn ang="0">
                    <a:pos x="178" y="80"/>
                  </a:cxn>
                  <a:cxn ang="0">
                    <a:pos x="172" y="98"/>
                  </a:cxn>
                  <a:cxn ang="0">
                    <a:pos x="153" y="111"/>
                  </a:cxn>
                  <a:cxn ang="0">
                    <a:pos x="24" y="111"/>
                  </a:cxn>
                  <a:cxn ang="0">
                    <a:pos x="6" y="98"/>
                  </a:cxn>
                  <a:cxn ang="0">
                    <a:pos x="0" y="31"/>
                  </a:cxn>
                  <a:cxn ang="0">
                    <a:pos x="6" y="14"/>
                  </a:cxn>
                  <a:cxn ang="0">
                    <a:pos x="24" y="2"/>
                  </a:cxn>
                  <a:cxn ang="0">
                    <a:pos x="427" y="200"/>
                  </a:cxn>
                  <a:cxn ang="0">
                    <a:pos x="442" y="205"/>
                  </a:cxn>
                  <a:cxn ang="0">
                    <a:pos x="453" y="222"/>
                  </a:cxn>
                  <a:cxn ang="0">
                    <a:pos x="447" y="254"/>
                  </a:cxn>
                  <a:cxn ang="0">
                    <a:pos x="427" y="310"/>
                  </a:cxn>
                  <a:cxn ang="0">
                    <a:pos x="294" y="309"/>
                  </a:cxn>
                  <a:cxn ang="0">
                    <a:pos x="279" y="294"/>
                  </a:cxn>
                  <a:cxn ang="0">
                    <a:pos x="277" y="227"/>
                  </a:cxn>
                  <a:cxn ang="0">
                    <a:pos x="286" y="208"/>
                  </a:cxn>
                  <a:cxn ang="0">
                    <a:pos x="305" y="200"/>
                  </a:cxn>
                  <a:cxn ang="0">
                    <a:pos x="150" y="200"/>
                  </a:cxn>
                  <a:cxn ang="0">
                    <a:pos x="169" y="208"/>
                  </a:cxn>
                  <a:cxn ang="0">
                    <a:pos x="178" y="227"/>
                  </a:cxn>
                  <a:cxn ang="0">
                    <a:pos x="175" y="294"/>
                  </a:cxn>
                  <a:cxn ang="0">
                    <a:pos x="161" y="309"/>
                  </a:cxn>
                  <a:cxn ang="0">
                    <a:pos x="28" y="310"/>
                  </a:cxn>
                  <a:cxn ang="0">
                    <a:pos x="9" y="304"/>
                  </a:cxn>
                  <a:cxn ang="0">
                    <a:pos x="0" y="283"/>
                  </a:cxn>
                  <a:cxn ang="0">
                    <a:pos x="2" y="218"/>
                  </a:cxn>
                  <a:cxn ang="0">
                    <a:pos x="17" y="202"/>
                  </a:cxn>
                  <a:cxn ang="0">
                    <a:pos x="582" y="0"/>
                  </a:cxn>
                  <a:cxn ang="0">
                    <a:pos x="721" y="6"/>
                  </a:cxn>
                  <a:cxn ang="0">
                    <a:pos x="707" y="25"/>
                  </a:cxn>
                  <a:cxn ang="0">
                    <a:pos x="620" y="60"/>
                  </a:cxn>
                  <a:cxn ang="0">
                    <a:pos x="560" y="100"/>
                  </a:cxn>
                  <a:cxn ang="0">
                    <a:pos x="555" y="28"/>
                  </a:cxn>
                  <a:cxn ang="0">
                    <a:pos x="563" y="8"/>
                  </a:cxn>
                  <a:cxn ang="0">
                    <a:pos x="582" y="0"/>
                  </a:cxn>
                  <a:cxn ang="0">
                    <a:pos x="427" y="0"/>
                  </a:cxn>
                  <a:cxn ang="0">
                    <a:pos x="447" y="8"/>
                  </a:cxn>
                  <a:cxn ang="0">
                    <a:pos x="455" y="28"/>
                  </a:cxn>
                  <a:cxn ang="0">
                    <a:pos x="452" y="94"/>
                  </a:cxn>
                  <a:cxn ang="0">
                    <a:pos x="438" y="110"/>
                  </a:cxn>
                  <a:cxn ang="0">
                    <a:pos x="305" y="111"/>
                  </a:cxn>
                  <a:cxn ang="0">
                    <a:pos x="286" y="103"/>
                  </a:cxn>
                  <a:cxn ang="0">
                    <a:pos x="277" y="83"/>
                  </a:cxn>
                  <a:cxn ang="0">
                    <a:pos x="279" y="17"/>
                  </a:cxn>
                  <a:cxn ang="0">
                    <a:pos x="294" y="3"/>
                  </a:cxn>
                </a:cxnLst>
                <a:rect l="0" t="0" r="r" b="b"/>
                <a:pathLst>
                  <a:path w="731" h="310">
                    <a:moveTo>
                      <a:pt x="31" y="0"/>
                    </a:moveTo>
                    <a:lnTo>
                      <a:pt x="147" y="0"/>
                    </a:lnTo>
                    <a:lnTo>
                      <a:pt x="147" y="0"/>
                    </a:lnTo>
                    <a:lnTo>
                      <a:pt x="153" y="2"/>
                    </a:lnTo>
                    <a:lnTo>
                      <a:pt x="158" y="3"/>
                    </a:lnTo>
                    <a:lnTo>
                      <a:pt x="164" y="6"/>
                    </a:lnTo>
                    <a:lnTo>
                      <a:pt x="168" y="10"/>
                    </a:lnTo>
                    <a:lnTo>
                      <a:pt x="172" y="14"/>
                    </a:lnTo>
                    <a:lnTo>
                      <a:pt x="175" y="20"/>
                    </a:lnTo>
                    <a:lnTo>
                      <a:pt x="176" y="25"/>
                    </a:lnTo>
                    <a:lnTo>
                      <a:pt x="178" y="31"/>
                    </a:lnTo>
                    <a:lnTo>
                      <a:pt x="178" y="80"/>
                    </a:lnTo>
                    <a:lnTo>
                      <a:pt x="178" y="80"/>
                    </a:lnTo>
                    <a:lnTo>
                      <a:pt x="176" y="87"/>
                    </a:lnTo>
                    <a:lnTo>
                      <a:pt x="175" y="93"/>
                    </a:lnTo>
                    <a:lnTo>
                      <a:pt x="172" y="98"/>
                    </a:lnTo>
                    <a:lnTo>
                      <a:pt x="168" y="103"/>
                    </a:lnTo>
                    <a:lnTo>
                      <a:pt x="164" y="105"/>
                    </a:lnTo>
                    <a:lnTo>
                      <a:pt x="158" y="108"/>
                    </a:lnTo>
                    <a:lnTo>
                      <a:pt x="153" y="111"/>
                    </a:lnTo>
                    <a:lnTo>
                      <a:pt x="147" y="111"/>
                    </a:lnTo>
                    <a:lnTo>
                      <a:pt x="31" y="111"/>
                    </a:lnTo>
                    <a:lnTo>
                      <a:pt x="31" y="111"/>
                    </a:lnTo>
                    <a:lnTo>
                      <a:pt x="24" y="111"/>
                    </a:lnTo>
                    <a:lnTo>
                      <a:pt x="18" y="108"/>
                    </a:lnTo>
                    <a:lnTo>
                      <a:pt x="14" y="105"/>
                    </a:lnTo>
                    <a:lnTo>
                      <a:pt x="9" y="103"/>
                    </a:lnTo>
                    <a:lnTo>
                      <a:pt x="6" y="98"/>
                    </a:lnTo>
                    <a:lnTo>
                      <a:pt x="3" y="93"/>
                    </a:lnTo>
                    <a:lnTo>
                      <a:pt x="0" y="87"/>
                    </a:lnTo>
                    <a:lnTo>
                      <a:pt x="0" y="80"/>
                    </a:lnTo>
                    <a:lnTo>
                      <a:pt x="0" y="31"/>
                    </a:lnTo>
                    <a:lnTo>
                      <a:pt x="0" y="31"/>
                    </a:lnTo>
                    <a:lnTo>
                      <a:pt x="0" y="25"/>
                    </a:lnTo>
                    <a:lnTo>
                      <a:pt x="3" y="20"/>
                    </a:lnTo>
                    <a:lnTo>
                      <a:pt x="6" y="14"/>
                    </a:lnTo>
                    <a:lnTo>
                      <a:pt x="9" y="10"/>
                    </a:lnTo>
                    <a:lnTo>
                      <a:pt x="14" y="6"/>
                    </a:lnTo>
                    <a:lnTo>
                      <a:pt x="18" y="3"/>
                    </a:lnTo>
                    <a:lnTo>
                      <a:pt x="24" y="2"/>
                    </a:lnTo>
                    <a:lnTo>
                      <a:pt x="31" y="0"/>
                    </a:lnTo>
                    <a:lnTo>
                      <a:pt x="31" y="0"/>
                    </a:lnTo>
                    <a:close/>
                    <a:moveTo>
                      <a:pt x="305" y="200"/>
                    </a:moveTo>
                    <a:lnTo>
                      <a:pt x="427" y="200"/>
                    </a:lnTo>
                    <a:lnTo>
                      <a:pt x="427" y="200"/>
                    </a:lnTo>
                    <a:lnTo>
                      <a:pt x="433" y="201"/>
                    </a:lnTo>
                    <a:lnTo>
                      <a:pt x="438" y="202"/>
                    </a:lnTo>
                    <a:lnTo>
                      <a:pt x="442" y="205"/>
                    </a:lnTo>
                    <a:lnTo>
                      <a:pt x="447" y="208"/>
                    </a:lnTo>
                    <a:lnTo>
                      <a:pt x="449" y="212"/>
                    </a:lnTo>
                    <a:lnTo>
                      <a:pt x="452" y="218"/>
                    </a:lnTo>
                    <a:lnTo>
                      <a:pt x="453" y="222"/>
                    </a:lnTo>
                    <a:lnTo>
                      <a:pt x="455" y="227"/>
                    </a:lnTo>
                    <a:lnTo>
                      <a:pt x="455" y="234"/>
                    </a:lnTo>
                    <a:lnTo>
                      <a:pt x="455" y="234"/>
                    </a:lnTo>
                    <a:lnTo>
                      <a:pt x="447" y="254"/>
                    </a:lnTo>
                    <a:lnTo>
                      <a:pt x="438" y="272"/>
                    </a:lnTo>
                    <a:lnTo>
                      <a:pt x="433" y="291"/>
                    </a:lnTo>
                    <a:lnTo>
                      <a:pt x="427" y="310"/>
                    </a:lnTo>
                    <a:lnTo>
                      <a:pt x="427" y="310"/>
                    </a:lnTo>
                    <a:lnTo>
                      <a:pt x="305" y="310"/>
                    </a:lnTo>
                    <a:lnTo>
                      <a:pt x="305" y="310"/>
                    </a:lnTo>
                    <a:lnTo>
                      <a:pt x="300" y="310"/>
                    </a:lnTo>
                    <a:lnTo>
                      <a:pt x="294" y="309"/>
                    </a:lnTo>
                    <a:lnTo>
                      <a:pt x="290" y="306"/>
                    </a:lnTo>
                    <a:lnTo>
                      <a:pt x="286" y="304"/>
                    </a:lnTo>
                    <a:lnTo>
                      <a:pt x="282" y="299"/>
                    </a:lnTo>
                    <a:lnTo>
                      <a:pt x="279" y="294"/>
                    </a:lnTo>
                    <a:lnTo>
                      <a:pt x="277" y="288"/>
                    </a:lnTo>
                    <a:lnTo>
                      <a:pt x="277" y="283"/>
                    </a:lnTo>
                    <a:lnTo>
                      <a:pt x="277" y="227"/>
                    </a:lnTo>
                    <a:lnTo>
                      <a:pt x="277" y="227"/>
                    </a:lnTo>
                    <a:lnTo>
                      <a:pt x="277" y="222"/>
                    </a:lnTo>
                    <a:lnTo>
                      <a:pt x="279" y="218"/>
                    </a:lnTo>
                    <a:lnTo>
                      <a:pt x="282" y="212"/>
                    </a:lnTo>
                    <a:lnTo>
                      <a:pt x="286" y="208"/>
                    </a:lnTo>
                    <a:lnTo>
                      <a:pt x="290" y="205"/>
                    </a:lnTo>
                    <a:lnTo>
                      <a:pt x="294" y="202"/>
                    </a:lnTo>
                    <a:lnTo>
                      <a:pt x="300" y="201"/>
                    </a:lnTo>
                    <a:lnTo>
                      <a:pt x="305" y="200"/>
                    </a:lnTo>
                    <a:lnTo>
                      <a:pt x="305" y="200"/>
                    </a:lnTo>
                    <a:close/>
                    <a:moveTo>
                      <a:pt x="28" y="200"/>
                    </a:moveTo>
                    <a:lnTo>
                      <a:pt x="150" y="200"/>
                    </a:lnTo>
                    <a:lnTo>
                      <a:pt x="150" y="200"/>
                    </a:lnTo>
                    <a:lnTo>
                      <a:pt x="156" y="201"/>
                    </a:lnTo>
                    <a:lnTo>
                      <a:pt x="161" y="202"/>
                    </a:lnTo>
                    <a:lnTo>
                      <a:pt x="165" y="205"/>
                    </a:lnTo>
                    <a:lnTo>
                      <a:pt x="169" y="208"/>
                    </a:lnTo>
                    <a:lnTo>
                      <a:pt x="172" y="212"/>
                    </a:lnTo>
                    <a:lnTo>
                      <a:pt x="175" y="218"/>
                    </a:lnTo>
                    <a:lnTo>
                      <a:pt x="176" y="222"/>
                    </a:lnTo>
                    <a:lnTo>
                      <a:pt x="178" y="227"/>
                    </a:lnTo>
                    <a:lnTo>
                      <a:pt x="178" y="283"/>
                    </a:lnTo>
                    <a:lnTo>
                      <a:pt x="178" y="283"/>
                    </a:lnTo>
                    <a:lnTo>
                      <a:pt x="176" y="288"/>
                    </a:lnTo>
                    <a:lnTo>
                      <a:pt x="175" y="294"/>
                    </a:lnTo>
                    <a:lnTo>
                      <a:pt x="172" y="299"/>
                    </a:lnTo>
                    <a:lnTo>
                      <a:pt x="169" y="304"/>
                    </a:lnTo>
                    <a:lnTo>
                      <a:pt x="165" y="306"/>
                    </a:lnTo>
                    <a:lnTo>
                      <a:pt x="161" y="309"/>
                    </a:lnTo>
                    <a:lnTo>
                      <a:pt x="156" y="310"/>
                    </a:lnTo>
                    <a:lnTo>
                      <a:pt x="150" y="310"/>
                    </a:lnTo>
                    <a:lnTo>
                      <a:pt x="28" y="310"/>
                    </a:lnTo>
                    <a:lnTo>
                      <a:pt x="28" y="310"/>
                    </a:lnTo>
                    <a:lnTo>
                      <a:pt x="23" y="310"/>
                    </a:lnTo>
                    <a:lnTo>
                      <a:pt x="17" y="309"/>
                    </a:lnTo>
                    <a:lnTo>
                      <a:pt x="13" y="306"/>
                    </a:lnTo>
                    <a:lnTo>
                      <a:pt x="9" y="304"/>
                    </a:lnTo>
                    <a:lnTo>
                      <a:pt x="4" y="299"/>
                    </a:lnTo>
                    <a:lnTo>
                      <a:pt x="2" y="294"/>
                    </a:lnTo>
                    <a:lnTo>
                      <a:pt x="0" y="288"/>
                    </a:lnTo>
                    <a:lnTo>
                      <a:pt x="0" y="283"/>
                    </a:lnTo>
                    <a:lnTo>
                      <a:pt x="0" y="227"/>
                    </a:lnTo>
                    <a:lnTo>
                      <a:pt x="0" y="227"/>
                    </a:lnTo>
                    <a:lnTo>
                      <a:pt x="0" y="222"/>
                    </a:lnTo>
                    <a:lnTo>
                      <a:pt x="2" y="218"/>
                    </a:lnTo>
                    <a:lnTo>
                      <a:pt x="4" y="212"/>
                    </a:lnTo>
                    <a:lnTo>
                      <a:pt x="9" y="208"/>
                    </a:lnTo>
                    <a:lnTo>
                      <a:pt x="13" y="205"/>
                    </a:lnTo>
                    <a:lnTo>
                      <a:pt x="17" y="202"/>
                    </a:lnTo>
                    <a:lnTo>
                      <a:pt x="23" y="201"/>
                    </a:lnTo>
                    <a:lnTo>
                      <a:pt x="28" y="200"/>
                    </a:lnTo>
                    <a:lnTo>
                      <a:pt x="28" y="200"/>
                    </a:lnTo>
                    <a:close/>
                    <a:moveTo>
                      <a:pt x="582" y="0"/>
                    </a:moveTo>
                    <a:lnTo>
                      <a:pt x="704" y="0"/>
                    </a:lnTo>
                    <a:lnTo>
                      <a:pt x="704" y="0"/>
                    </a:lnTo>
                    <a:lnTo>
                      <a:pt x="713" y="2"/>
                    </a:lnTo>
                    <a:lnTo>
                      <a:pt x="721" y="6"/>
                    </a:lnTo>
                    <a:lnTo>
                      <a:pt x="726" y="11"/>
                    </a:lnTo>
                    <a:lnTo>
                      <a:pt x="731" y="20"/>
                    </a:lnTo>
                    <a:lnTo>
                      <a:pt x="731" y="20"/>
                    </a:lnTo>
                    <a:lnTo>
                      <a:pt x="707" y="25"/>
                    </a:lnTo>
                    <a:lnTo>
                      <a:pt x="685" y="32"/>
                    </a:lnTo>
                    <a:lnTo>
                      <a:pt x="663" y="40"/>
                    </a:lnTo>
                    <a:lnTo>
                      <a:pt x="640" y="50"/>
                    </a:lnTo>
                    <a:lnTo>
                      <a:pt x="620" y="60"/>
                    </a:lnTo>
                    <a:lnTo>
                      <a:pt x="599" y="72"/>
                    </a:lnTo>
                    <a:lnTo>
                      <a:pt x="580" y="86"/>
                    </a:lnTo>
                    <a:lnTo>
                      <a:pt x="560" y="100"/>
                    </a:lnTo>
                    <a:lnTo>
                      <a:pt x="560" y="100"/>
                    </a:lnTo>
                    <a:lnTo>
                      <a:pt x="556" y="93"/>
                    </a:lnTo>
                    <a:lnTo>
                      <a:pt x="555" y="83"/>
                    </a:lnTo>
                    <a:lnTo>
                      <a:pt x="555" y="28"/>
                    </a:lnTo>
                    <a:lnTo>
                      <a:pt x="555" y="28"/>
                    </a:lnTo>
                    <a:lnTo>
                      <a:pt x="555" y="22"/>
                    </a:lnTo>
                    <a:lnTo>
                      <a:pt x="556" y="17"/>
                    </a:lnTo>
                    <a:lnTo>
                      <a:pt x="559" y="13"/>
                    </a:lnTo>
                    <a:lnTo>
                      <a:pt x="563" y="8"/>
                    </a:lnTo>
                    <a:lnTo>
                      <a:pt x="567" y="6"/>
                    </a:lnTo>
                    <a:lnTo>
                      <a:pt x="571" y="3"/>
                    </a:lnTo>
                    <a:lnTo>
                      <a:pt x="577" y="2"/>
                    </a:lnTo>
                    <a:lnTo>
                      <a:pt x="582" y="0"/>
                    </a:lnTo>
                    <a:lnTo>
                      <a:pt x="582" y="0"/>
                    </a:lnTo>
                    <a:close/>
                    <a:moveTo>
                      <a:pt x="305" y="0"/>
                    </a:moveTo>
                    <a:lnTo>
                      <a:pt x="427" y="0"/>
                    </a:lnTo>
                    <a:lnTo>
                      <a:pt x="427" y="0"/>
                    </a:lnTo>
                    <a:lnTo>
                      <a:pt x="433" y="2"/>
                    </a:lnTo>
                    <a:lnTo>
                      <a:pt x="438" y="3"/>
                    </a:lnTo>
                    <a:lnTo>
                      <a:pt x="442" y="6"/>
                    </a:lnTo>
                    <a:lnTo>
                      <a:pt x="447" y="8"/>
                    </a:lnTo>
                    <a:lnTo>
                      <a:pt x="449" y="13"/>
                    </a:lnTo>
                    <a:lnTo>
                      <a:pt x="452" y="17"/>
                    </a:lnTo>
                    <a:lnTo>
                      <a:pt x="453" y="22"/>
                    </a:lnTo>
                    <a:lnTo>
                      <a:pt x="455" y="28"/>
                    </a:lnTo>
                    <a:lnTo>
                      <a:pt x="455" y="83"/>
                    </a:lnTo>
                    <a:lnTo>
                      <a:pt x="455" y="83"/>
                    </a:lnTo>
                    <a:lnTo>
                      <a:pt x="453" y="89"/>
                    </a:lnTo>
                    <a:lnTo>
                      <a:pt x="452" y="94"/>
                    </a:lnTo>
                    <a:lnTo>
                      <a:pt x="449" y="98"/>
                    </a:lnTo>
                    <a:lnTo>
                      <a:pt x="447" y="103"/>
                    </a:lnTo>
                    <a:lnTo>
                      <a:pt x="442" y="107"/>
                    </a:lnTo>
                    <a:lnTo>
                      <a:pt x="438" y="110"/>
                    </a:lnTo>
                    <a:lnTo>
                      <a:pt x="433" y="111"/>
                    </a:lnTo>
                    <a:lnTo>
                      <a:pt x="427" y="111"/>
                    </a:lnTo>
                    <a:lnTo>
                      <a:pt x="305" y="111"/>
                    </a:lnTo>
                    <a:lnTo>
                      <a:pt x="305" y="111"/>
                    </a:lnTo>
                    <a:lnTo>
                      <a:pt x="300" y="111"/>
                    </a:lnTo>
                    <a:lnTo>
                      <a:pt x="294" y="110"/>
                    </a:lnTo>
                    <a:lnTo>
                      <a:pt x="290" y="107"/>
                    </a:lnTo>
                    <a:lnTo>
                      <a:pt x="286" y="103"/>
                    </a:lnTo>
                    <a:lnTo>
                      <a:pt x="282" y="98"/>
                    </a:lnTo>
                    <a:lnTo>
                      <a:pt x="279" y="94"/>
                    </a:lnTo>
                    <a:lnTo>
                      <a:pt x="277" y="89"/>
                    </a:lnTo>
                    <a:lnTo>
                      <a:pt x="277" y="83"/>
                    </a:lnTo>
                    <a:lnTo>
                      <a:pt x="277" y="28"/>
                    </a:lnTo>
                    <a:lnTo>
                      <a:pt x="277" y="28"/>
                    </a:lnTo>
                    <a:lnTo>
                      <a:pt x="277" y="22"/>
                    </a:lnTo>
                    <a:lnTo>
                      <a:pt x="279" y="17"/>
                    </a:lnTo>
                    <a:lnTo>
                      <a:pt x="282" y="13"/>
                    </a:lnTo>
                    <a:lnTo>
                      <a:pt x="286" y="8"/>
                    </a:lnTo>
                    <a:lnTo>
                      <a:pt x="290" y="6"/>
                    </a:lnTo>
                    <a:lnTo>
                      <a:pt x="294" y="3"/>
                    </a:lnTo>
                    <a:lnTo>
                      <a:pt x="300" y="2"/>
                    </a:lnTo>
                    <a:lnTo>
                      <a:pt x="305" y="0"/>
                    </a:lnTo>
                    <a:lnTo>
                      <a:pt x="3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152">
                <a:extLst>
                  <a:ext uri="{FF2B5EF4-FFF2-40B4-BE49-F238E27FC236}">
                    <a16:creationId xmlns:a16="http://schemas.microsoft.com/office/drawing/2014/main" id="{8003FB1A-5A2B-45D4-B100-3B0C1D5688D7}"/>
                  </a:ext>
                </a:extLst>
              </p:cNvPr>
              <p:cNvSpPr>
                <a:spLocks noEditPoints="1"/>
              </p:cNvSpPr>
              <p:nvPr/>
            </p:nvSpPr>
            <p:spPr bwMode="auto">
              <a:xfrm>
                <a:off x="-4106863" y="4532313"/>
                <a:ext cx="546100" cy="546100"/>
              </a:xfrm>
              <a:custGeom>
                <a:avLst/>
                <a:gdLst/>
                <a:ahLst/>
                <a:cxnLst>
                  <a:cxn ang="0">
                    <a:pos x="319" y="101"/>
                  </a:cxn>
                  <a:cxn ang="0">
                    <a:pos x="248" y="119"/>
                  </a:cxn>
                  <a:cxn ang="0">
                    <a:pos x="188" y="155"/>
                  </a:cxn>
                  <a:cxn ang="0">
                    <a:pos x="155" y="189"/>
                  </a:cxn>
                  <a:cxn ang="0">
                    <a:pos x="119" y="249"/>
                  </a:cxn>
                  <a:cxn ang="0">
                    <a:pos x="101" y="319"/>
                  </a:cxn>
                  <a:cxn ang="0">
                    <a:pos x="101" y="369"/>
                  </a:cxn>
                  <a:cxn ang="0">
                    <a:pos x="119" y="439"/>
                  </a:cxn>
                  <a:cxn ang="0">
                    <a:pos x="155" y="499"/>
                  </a:cxn>
                  <a:cxn ang="0">
                    <a:pos x="188" y="532"/>
                  </a:cxn>
                  <a:cxn ang="0">
                    <a:pos x="248" y="568"/>
                  </a:cxn>
                  <a:cxn ang="0">
                    <a:pos x="319" y="586"/>
                  </a:cxn>
                  <a:cxn ang="0">
                    <a:pos x="368" y="586"/>
                  </a:cxn>
                  <a:cxn ang="0">
                    <a:pos x="438" y="568"/>
                  </a:cxn>
                  <a:cxn ang="0">
                    <a:pos x="499" y="532"/>
                  </a:cxn>
                  <a:cxn ang="0">
                    <a:pos x="532" y="499"/>
                  </a:cxn>
                  <a:cxn ang="0">
                    <a:pos x="568" y="439"/>
                  </a:cxn>
                  <a:cxn ang="0">
                    <a:pos x="586" y="369"/>
                  </a:cxn>
                  <a:cxn ang="0">
                    <a:pos x="586" y="319"/>
                  </a:cxn>
                  <a:cxn ang="0">
                    <a:pos x="568" y="249"/>
                  </a:cxn>
                  <a:cxn ang="0">
                    <a:pos x="532" y="189"/>
                  </a:cxn>
                  <a:cxn ang="0">
                    <a:pos x="499" y="155"/>
                  </a:cxn>
                  <a:cxn ang="0">
                    <a:pos x="438" y="119"/>
                  </a:cxn>
                  <a:cxn ang="0">
                    <a:pos x="368" y="101"/>
                  </a:cxn>
                  <a:cxn ang="0">
                    <a:pos x="101" y="101"/>
                  </a:cxn>
                  <a:cxn ang="0">
                    <a:pos x="151" y="60"/>
                  </a:cxn>
                  <a:cxn ang="0">
                    <a:pos x="226" y="21"/>
                  </a:cxn>
                  <a:cxn ang="0">
                    <a:pos x="274" y="7"/>
                  </a:cxn>
                  <a:cxn ang="0">
                    <a:pos x="326" y="1"/>
                  </a:cxn>
                  <a:cxn ang="0">
                    <a:pos x="362" y="1"/>
                  </a:cxn>
                  <a:cxn ang="0">
                    <a:pos x="413" y="7"/>
                  </a:cxn>
                  <a:cxn ang="0">
                    <a:pos x="461" y="21"/>
                  </a:cxn>
                  <a:cxn ang="0">
                    <a:pos x="536" y="60"/>
                  </a:cxn>
                  <a:cxn ang="0">
                    <a:pos x="586" y="101"/>
                  </a:cxn>
                  <a:cxn ang="0">
                    <a:pos x="646" y="180"/>
                  </a:cxn>
                  <a:cxn ang="0">
                    <a:pos x="672" y="241"/>
                  </a:cxn>
                  <a:cxn ang="0">
                    <a:pos x="683" y="291"/>
                  </a:cxn>
                  <a:cxn ang="0">
                    <a:pos x="687" y="344"/>
                  </a:cxn>
                  <a:cxn ang="0">
                    <a:pos x="686" y="380"/>
                  </a:cxn>
                  <a:cxn ang="0">
                    <a:pos x="676" y="430"/>
                  </a:cxn>
                  <a:cxn ang="0">
                    <a:pos x="659" y="478"/>
                  </a:cxn>
                  <a:cxn ang="0">
                    <a:pos x="608" y="563"/>
                  </a:cxn>
                  <a:cxn ang="0">
                    <a:pos x="562" y="610"/>
                  </a:cxn>
                  <a:cxn ang="0">
                    <a:pos x="477" y="661"/>
                  </a:cxn>
                  <a:cxn ang="0">
                    <a:pos x="429" y="676"/>
                  </a:cxn>
                  <a:cxn ang="0">
                    <a:pos x="378" y="686"/>
                  </a:cxn>
                  <a:cxn ang="0">
                    <a:pos x="344" y="687"/>
                  </a:cxn>
                  <a:cxn ang="0">
                    <a:pos x="291" y="683"/>
                  </a:cxn>
                  <a:cxn ang="0">
                    <a:pos x="241" y="672"/>
                  </a:cxn>
                  <a:cxn ang="0">
                    <a:pos x="180" y="646"/>
                  </a:cxn>
                  <a:cxn ang="0">
                    <a:pos x="101" y="588"/>
                  </a:cxn>
                  <a:cxn ang="0">
                    <a:pos x="58" y="536"/>
                  </a:cxn>
                  <a:cxn ang="0">
                    <a:pos x="21" y="461"/>
                  </a:cxn>
                  <a:cxn ang="0">
                    <a:pos x="7" y="413"/>
                  </a:cxn>
                  <a:cxn ang="0">
                    <a:pos x="0" y="362"/>
                  </a:cxn>
                  <a:cxn ang="0">
                    <a:pos x="0" y="326"/>
                  </a:cxn>
                  <a:cxn ang="0">
                    <a:pos x="7" y="274"/>
                  </a:cxn>
                  <a:cxn ang="0">
                    <a:pos x="21" y="226"/>
                  </a:cxn>
                  <a:cxn ang="0">
                    <a:pos x="58" y="152"/>
                  </a:cxn>
                  <a:cxn ang="0">
                    <a:pos x="101" y="101"/>
                  </a:cxn>
                </a:cxnLst>
                <a:rect l="0" t="0" r="r" b="b"/>
                <a:pathLst>
                  <a:path w="687" h="687">
                    <a:moveTo>
                      <a:pt x="344" y="100"/>
                    </a:moveTo>
                    <a:lnTo>
                      <a:pt x="344" y="100"/>
                    </a:lnTo>
                    <a:lnTo>
                      <a:pt x="319" y="101"/>
                    </a:lnTo>
                    <a:lnTo>
                      <a:pt x="294" y="105"/>
                    </a:lnTo>
                    <a:lnTo>
                      <a:pt x="271" y="111"/>
                    </a:lnTo>
                    <a:lnTo>
                      <a:pt x="248" y="119"/>
                    </a:lnTo>
                    <a:lnTo>
                      <a:pt x="227" y="129"/>
                    </a:lnTo>
                    <a:lnTo>
                      <a:pt x="206" y="141"/>
                    </a:lnTo>
                    <a:lnTo>
                      <a:pt x="188" y="155"/>
                    </a:lnTo>
                    <a:lnTo>
                      <a:pt x="170" y="172"/>
                    </a:lnTo>
                    <a:lnTo>
                      <a:pt x="170" y="172"/>
                    </a:lnTo>
                    <a:lnTo>
                      <a:pt x="155" y="189"/>
                    </a:lnTo>
                    <a:lnTo>
                      <a:pt x="141" y="208"/>
                    </a:lnTo>
                    <a:lnTo>
                      <a:pt x="129" y="227"/>
                    </a:lnTo>
                    <a:lnTo>
                      <a:pt x="119" y="249"/>
                    </a:lnTo>
                    <a:lnTo>
                      <a:pt x="111" y="272"/>
                    </a:lnTo>
                    <a:lnTo>
                      <a:pt x="104" y="295"/>
                    </a:lnTo>
                    <a:lnTo>
                      <a:pt x="101" y="319"/>
                    </a:lnTo>
                    <a:lnTo>
                      <a:pt x="100" y="344"/>
                    </a:lnTo>
                    <a:lnTo>
                      <a:pt x="100" y="344"/>
                    </a:lnTo>
                    <a:lnTo>
                      <a:pt x="101" y="369"/>
                    </a:lnTo>
                    <a:lnTo>
                      <a:pt x="104" y="394"/>
                    </a:lnTo>
                    <a:lnTo>
                      <a:pt x="111" y="417"/>
                    </a:lnTo>
                    <a:lnTo>
                      <a:pt x="119" y="439"/>
                    </a:lnTo>
                    <a:lnTo>
                      <a:pt x="129" y="460"/>
                    </a:lnTo>
                    <a:lnTo>
                      <a:pt x="141" y="481"/>
                    </a:lnTo>
                    <a:lnTo>
                      <a:pt x="155" y="499"/>
                    </a:lnTo>
                    <a:lnTo>
                      <a:pt x="170" y="517"/>
                    </a:lnTo>
                    <a:lnTo>
                      <a:pt x="170" y="517"/>
                    </a:lnTo>
                    <a:lnTo>
                      <a:pt x="188" y="532"/>
                    </a:lnTo>
                    <a:lnTo>
                      <a:pt x="206" y="546"/>
                    </a:lnTo>
                    <a:lnTo>
                      <a:pt x="227" y="558"/>
                    </a:lnTo>
                    <a:lnTo>
                      <a:pt x="248" y="568"/>
                    </a:lnTo>
                    <a:lnTo>
                      <a:pt x="271" y="576"/>
                    </a:lnTo>
                    <a:lnTo>
                      <a:pt x="294" y="583"/>
                    </a:lnTo>
                    <a:lnTo>
                      <a:pt x="319" y="586"/>
                    </a:lnTo>
                    <a:lnTo>
                      <a:pt x="344" y="588"/>
                    </a:lnTo>
                    <a:lnTo>
                      <a:pt x="344" y="588"/>
                    </a:lnTo>
                    <a:lnTo>
                      <a:pt x="368" y="586"/>
                    </a:lnTo>
                    <a:lnTo>
                      <a:pt x="392" y="583"/>
                    </a:lnTo>
                    <a:lnTo>
                      <a:pt x="416" y="576"/>
                    </a:lnTo>
                    <a:lnTo>
                      <a:pt x="438" y="568"/>
                    </a:lnTo>
                    <a:lnTo>
                      <a:pt x="460" y="558"/>
                    </a:lnTo>
                    <a:lnTo>
                      <a:pt x="479" y="546"/>
                    </a:lnTo>
                    <a:lnTo>
                      <a:pt x="499" y="532"/>
                    </a:lnTo>
                    <a:lnTo>
                      <a:pt x="515" y="517"/>
                    </a:lnTo>
                    <a:lnTo>
                      <a:pt x="515" y="517"/>
                    </a:lnTo>
                    <a:lnTo>
                      <a:pt x="532" y="499"/>
                    </a:lnTo>
                    <a:lnTo>
                      <a:pt x="546" y="481"/>
                    </a:lnTo>
                    <a:lnTo>
                      <a:pt x="558" y="460"/>
                    </a:lnTo>
                    <a:lnTo>
                      <a:pt x="568" y="439"/>
                    </a:lnTo>
                    <a:lnTo>
                      <a:pt x="576" y="417"/>
                    </a:lnTo>
                    <a:lnTo>
                      <a:pt x="582" y="394"/>
                    </a:lnTo>
                    <a:lnTo>
                      <a:pt x="586" y="369"/>
                    </a:lnTo>
                    <a:lnTo>
                      <a:pt x="587" y="344"/>
                    </a:lnTo>
                    <a:lnTo>
                      <a:pt x="587" y="344"/>
                    </a:lnTo>
                    <a:lnTo>
                      <a:pt x="586" y="319"/>
                    </a:lnTo>
                    <a:lnTo>
                      <a:pt x="582" y="295"/>
                    </a:lnTo>
                    <a:lnTo>
                      <a:pt x="576" y="272"/>
                    </a:lnTo>
                    <a:lnTo>
                      <a:pt x="568" y="249"/>
                    </a:lnTo>
                    <a:lnTo>
                      <a:pt x="558" y="227"/>
                    </a:lnTo>
                    <a:lnTo>
                      <a:pt x="546" y="208"/>
                    </a:lnTo>
                    <a:lnTo>
                      <a:pt x="532" y="189"/>
                    </a:lnTo>
                    <a:lnTo>
                      <a:pt x="515" y="172"/>
                    </a:lnTo>
                    <a:lnTo>
                      <a:pt x="515" y="172"/>
                    </a:lnTo>
                    <a:lnTo>
                      <a:pt x="499" y="155"/>
                    </a:lnTo>
                    <a:lnTo>
                      <a:pt x="479" y="141"/>
                    </a:lnTo>
                    <a:lnTo>
                      <a:pt x="460" y="129"/>
                    </a:lnTo>
                    <a:lnTo>
                      <a:pt x="438" y="119"/>
                    </a:lnTo>
                    <a:lnTo>
                      <a:pt x="416" y="111"/>
                    </a:lnTo>
                    <a:lnTo>
                      <a:pt x="392" y="105"/>
                    </a:lnTo>
                    <a:lnTo>
                      <a:pt x="368" y="101"/>
                    </a:lnTo>
                    <a:lnTo>
                      <a:pt x="344" y="100"/>
                    </a:lnTo>
                    <a:lnTo>
                      <a:pt x="344" y="100"/>
                    </a:lnTo>
                    <a:close/>
                    <a:moveTo>
                      <a:pt x="101" y="101"/>
                    </a:moveTo>
                    <a:lnTo>
                      <a:pt x="101" y="101"/>
                    </a:lnTo>
                    <a:lnTo>
                      <a:pt x="125" y="79"/>
                    </a:lnTo>
                    <a:lnTo>
                      <a:pt x="151" y="60"/>
                    </a:lnTo>
                    <a:lnTo>
                      <a:pt x="180" y="42"/>
                    </a:lnTo>
                    <a:lnTo>
                      <a:pt x="209" y="28"/>
                    </a:lnTo>
                    <a:lnTo>
                      <a:pt x="226" y="21"/>
                    </a:lnTo>
                    <a:lnTo>
                      <a:pt x="241" y="15"/>
                    </a:lnTo>
                    <a:lnTo>
                      <a:pt x="258" y="11"/>
                    </a:lnTo>
                    <a:lnTo>
                      <a:pt x="274" y="7"/>
                    </a:lnTo>
                    <a:lnTo>
                      <a:pt x="291" y="4"/>
                    </a:lnTo>
                    <a:lnTo>
                      <a:pt x="309" y="1"/>
                    </a:lnTo>
                    <a:lnTo>
                      <a:pt x="326" y="1"/>
                    </a:lnTo>
                    <a:lnTo>
                      <a:pt x="344" y="0"/>
                    </a:lnTo>
                    <a:lnTo>
                      <a:pt x="344" y="0"/>
                    </a:lnTo>
                    <a:lnTo>
                      <a:pt x="362" y="1"/>
                    </a:lnTo>
                    <a:lnTo>
                      <a:pt x="378" y="1"/>
                    </a:lnTo>
                    <a:lnTo>
                      <a:pt x="396" y="4"/>
                    </a:lnTo>
                    <a:lnTo>
                      <a:pt x="413" y="7"/>
                    </a:lnTo>
                    <a:lnTo>
                      <a:pt x="429" y="11"/>
                    </a:lnTo>
                    <a:lnTo>
                      <a:pt x="446" y="15"/>
                    </a:lnTo>
                    <a:lnTo>
                      <a:pt x="461" y="21"/>
                    </a:lnTo>
                    <a:lnTo>
                      <a:pt x="477" y="28"/>
                    </a:lnTo>
                    <a:lnTo>
                      <a:pt x="507" y="42"/>
                    </a:lnTo>
                    <a:lnTo>
                      <a:pt x="536" y="60"/>
                    </a:lnTo>
                    <a:lnTo>
                      <a:pt x="562" y="79"/>
                    </a:lnTo>
                    <a:lnTo>
                      <a:pt x="586" y="101"/>
                    </a:lnTo>
                    <a:lnTo>
                      <a:pt x="586" y="101"/>
                    </a:lnTo>
                    <a:lnTo>
                      <a:pt x="608" y="125"/>
                    </a:lnTo>
                    <a:lnTo>
                      <a:pt x="628" y="152"/>
                    </a:lnTo>
                    <a:lnTo>
                      <a:pt x="646" y="180"/>
                    </a:lnTo>
                    <a:lnTo>
                      <a:pt x="659" y="211"/>
                    </a:lnTo>
                    <a:lnTo>
                      <a:pt x="666" y="226"/>
                    </a:lnTo>
                    <a:lnTo>
                      <a:pt x="672" y="241"/>
                    </a:lnTo>
                    <a:lnTo>
                      <a:pt x="676" y="258"/>
                    </a:lnTo>
                    <a:lnTo>
                      <a:pt x="680" y="274"/>
                    </a:lnTo>
                    <a:lnTo>
                      <a:pt x="683" y="291"/>
                    </a:lnTo>
                    <a:lnTo>
                      <a:pt x="686" y="309"/>
                    </a:lnTo>
                    <a:lnTo>
                      <a:pt x="687" y="326"/>
                    </a:lnTo>
                    <a:lnTo>
                      <a:pt x="687" y="344"/>
                    </a:lnTo>
                    <a:lnTo>
                      <a:pt x="687" y="344"/>
                    </a:lnTo>
                    <a:lnTo>
                      <a:pt x="687" y="362"/>
                    </a:lnTo>
                    <a:lnTo>
                      <a:pt x="686" y="380"/>
                    </a:lnTo>
                    <a:lnTo>
                      <a:pt x="683" y="396"/>
                    </a:lnTo>
                    <a:lnTo>
                      <a:pt x="680" y="413"/>
                    </a:lnTo>
                    <a:lnTo>
                      <a:pt x="676" y="430"/>
                    </a:lnTo>
                    <a:lnTo>
                      <a:pt x="672" y="446"/>
                    </a:lnTo>
                    <a:lnTo>
                      <a:pt x="666" y="461"/>
                    </a:lnTo>
                    <a:lnTo>
                      <a:pt x="659" y="478"/>
                    </a:lnTo>
                    <a:lnTo>
                      <a:pt x="646" y="507"/>
                    </a:lnTo>
                    <a:lnTo>
                      <a:pt x="628" y="536"/>
                    </a:lnTo>
                    <a:lnTo>
                      <a:pt x="608" y="563"/>
                    </a:lnTo>
                    <a:lnTo>
                      <a:pt x="586" y="588"/>
                    </a:lnTo>
                    <a:lnTo>
                      <a:pt x="586" y="588"/>
                    </a:lnTo>
                    <a:lnTo>
                      <a:pt x="562" y="610"/>
                    </a:lnTo>
                    <a:lnTo>
                      <a:pt x="536" y="629"/>
                    </a:lnTo>
                    <a:lnTo>
                      <a:pt x="507" y="646"/>
                    </a:lnTo>
                    <a:lnTo>
                      <a:pt x="477" y="661"/>
                    </a:lnTo>
                    <a:lnTo>
                      <a:pt x="461" y="666"/>
                    </a:lnTo>
                    <a:lnTo>
                      <a:pt x="446" y="672"/>
                    </a:lnTo>
                    <a:lnTo>
                      <a:pt x="429" y="676"/>
                    </a:lnTo>
                    <a:lnTo>
                      <a:pt x="413" y="680"/>
                    </a:lnTo>
                    <a:lnTo>
                      <a:pt x="396" y="683"/>
                    </a:lnTo>
                    <a:lnTo>
                      <a:pt x="378" y="686"/>
                    </a:lnTo>
                    <a:lnTo>
                      <a:pt x="362" y="687"/>
                    </a:lnTo>
                    <a:lnTo>
                      <a:pt x="344" y="687"/>
                    </a:lnTo>
                    <a:lnTo>
                      <a:pt x="344" y="687"/>
                    </a:lnTo>
                    <a:lnTo>
                      <a:pt x="326" y="687"/>
                    </a:lnTo>
                    <a:lnTo>
                      <a:pt x="309" y="686"/>
                    </a:lnTo>
                    <a:lnTo>
                      <a:pt x="291" y="683"/>
                    </a:lnTo>
                    <a:lnTo>
                      <a:pt x="274" y="680"/>
                    </a:lnTo>
                    <a:lnTo>
                      <a:pt x="258" y="676"/>
                    </a:lnTo>
                    <a:lnTo>
                      <a:pt x="241" y="672"/>
                    </a:lnTo>
                    <a:lnTo>
                      <a:pt x="226" y="666"/>
                    </a:lnTo>
                    <a:lnTo>
                      <a:pt x="209" y="661"/>
                    </a:lnTo>
                    <a:lnTo>
                      <a:pt x="180" y="646"/>
                    </a:lnTo>
                    <a:lnTo>
                      <a:pt x="151" y="629"/>
                    </a:lnTo>
                    <a:lnTo>
                      <a:pt x="125" y="610"/>
                    </a:lnTo>
                    <a:lnTo>
                      <a:pt x="101" y="588"/>
                    </a:lnTo>
                    <a:lnTo>
                      <a:pt x="101" y="588"/>
                    </a:lnTo>
                    <a:lnTo>
                      <a:pt x="77" y="563"/>
                    </a:lnTo>
                    <a:lnTo>
                      <a:pt x="58" y="536"/>
                    </a:lnTo>
                    <a:lnTo>
                      <a:pt x="41" y="507"/>
                    </a:lnTo>
                    <a:lnTo>
                      <a:pt x="26" y="478"/>
                    </a:lnTo>
                    <a:lnTo>
                      <a:pt x="21" y="461"/>
                    </a:lnTo>
                    <a:lnTo>
                      <a:pt x="15" y="446"/>
                    </a:lnTo>
                    <a:lnTo>
                      <a:pt x="11" y="430"/>
                    </a:lnTo>
                    <a:lnTo>
                      <a:pt x="7" y="413"/>
                    </a:lnTo>
                    <a:lnTo>
                      <a:pt x="4" y="396"/>
                    </a:lnTo>
                    <a:lnTo>
                      <a:pt x="1" y="380"/>
                    </a:lnTo>
                    <a:lnTo>
                      <a:pt x="0" y="362"/>
                    </a:lnTo>
                    <a:lnTo>
                      <a:pt x="0" y="344"/>
                    </a:lnTo>
                    <a:lnTo>
                      <a:pt x="0" y="344"/>
                    </a:lnTo>
                    <a:lnTo>
                      <a:pt x="0" y="326"/>
                    </a:lnTo>
                    <a:lnTo>
                      <a:pt x="1" y="309"/>
                    </a:lnTo>
                    <a:lnTo>
                      <a:pt x="4" y="291"/>
                    </a:lnTo>
                    <a:lnTo>
                      <a:pt x="7" y="274"/>
                    </a:lnTo>
                    <a:lnTo>
                      <a:pt x="11" y="258"/>
                    </a:lnTo>
                    <a:lnTo>
                      <a:pt x="15" y="241"/>
                    </a:lnTo>
                    <a:lnTo>
                      <a:pt x="21" y="226"/>
                    </a:lnTo>
                    <a:lnTo>
                      <a:pt x="26" y="211"/>
                    </a:lnTo>
                    <a:lnTo>
                      <a:pt x="41" y="180"/>
                    </a:lnTo>
                    <a:lnTo>
                      <a:pt x="58" y="152"/>
                    </a:lnTo>
                    <a:lnTo>
                      <a:pt x="77" y="125"/>
                    </a:lnTo>
                    <a:lnTo>
                      <a:pt x="101" y="101"/>
                    </a:lnTo>
                    <a:lnTo>
                      <a:pt x="101" y="10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 name="Freeform 153">
                <a:extLst>
                  <a:ext uri="{FF2B5EF4-FFF2-40B4-BE49-F238E27FC236}">
                    <a16:creationId xmlns:a16="http://schemas.microsoft.com/office/drawing/2014/main" id="{0B56C2C5-632F-4E42-B4CD-AA0792E4C39A}"/>
                  </a:ext>
                </a:extLst>
              </p:cNvPr>
              <p:cNvSpPr>
                <a:spLocks/>
              </p:cNvSpPr>
              <p:nvPr/>
            </p:nvSpPr>
            <p:spPr bwMode="auto">
              <a:xfrm>
                <a:off x="-3948113" y="4691063"/>
                <a:ext cx="153987" cy="153988"/>
              </a:xfrm>
              <a:custGeom>
                <a:avLst/>
                <a:gdLst/>
                <a:ahLst/>
                <a:cxnLst>
                  <a:cxn ang="0">
                    <a:pos x="93" y="140"/>
                  </a:cxn>
                  <a:cxn ang="0">
                    <a:pos x="93" y="140"/>
                  </a:cxn>
                  <a:cxn ang="0">
                    <a:pos x="93" y="151"/>
                  </a:cxn>
                  <a:cxn ang="0">
                    <a:pos x="95" y="161"/>
                  </a:cxn>
                  <a:cxn ang="0">
                    <a:pos x="101" y="170"/>
                  </a:cxn>
                  <a:cxn ang="0">
                    <a:pos x="107" y="179"/>
                  </a:cxn>
                  <a:cxn ang="0">
                    <a:pos x="107" y="179"/>
                  </a:cxn>
                  <a:cxn ang="0">
                    <a:pos x="115" y="184"/>
                  </a:cxn>
                  <a:cxn ang="0">
                    <a:pos x="123" y="190"/>
                  </a:cxn>
                  <a:cxn ang="0">
                    <a:pos x="133" y="193"/>
                  </a:cxn>
                  <a:cxn ang="0">
                    <a:pos x="143" y="193"/>
                  </a:cxn>
                  <a:cxn ang="0">
                    <a:pos x="152" y="193"/>
                  </a:cxn>
                  <a:cxn ang="0">
                    <a:pos x="161" y="190"/>
                  </a:cxn>
                  <a:cxn ang="0">
                    <a:pos x="170" y="184"/>
                  </a:cxn>
                  <a:cxn ang="0">
                    <a:pos x="177" y="179"/>
                  </a:cxn>
                  <a:cxn ang="0">
                    <a:pos x="177" y="179"/>
                  </a:cxn>
                  <a:cxn ang="0">
                    <a:pos x="184" y="170"/>
                  </a:cxn>
                  <a:cxn ang="0">
                    <a:pos x="188" y="162"/>
                  </a:cxn>
                  <a:cxn ang="0">
                    <a:pos x="191" y="152"/>
                  </a:cxn>
                  <a:cxn ang="0">
                    <a:pos x="192" y="143"/>
                  </a:cxn>
                  <a:cxn ang="0">
                    <a:pos x="191" y="133"/>
                  </a:cxn>
                  <a:cxn ang="0">
                    <a:pos x="188" y="125"/>
                  </a:cxn>
                  <a:cxn ang="0">
                    <a:pos x="184" y="115"/>
                  </a:cxn>
                  <a:cxn ang="0">
                    <a:pos x="177" y="108"/>
                  </a:cxn>
                  <a:cxn ang="0">
                    <a:pos x="177" y="108"/>
                  </a:cxn>
                  <a:cxn ang="0">
                    <a:pos x="169" y="101"/>
                  </a:cxn>
                  <a:cxn ang="0">
                    <a:pos x="159" y="96"/>
                  </a:cxn>
                  <a:cxn ang="0">
                    <a:pos x="149" y="94"/>
                  </a:cxn>
                  <a:cxn ang="0">
                    <a:pos x="140" y="93"/>
                  </a:cxn>
                  <a:cxn ang="0">
                    <a:pos x="57" y="10"/>
                  </a:cxn>
                  <a:cxn ang="0">
                    <a:pos x="57" y="10"/>
                  </a:cxn>
                  <a:cxn ang="0">
                    <a:pos x="51" y="6"/>
                  </a:cxn>
                  <a:cxn ang="0">
                    <a:pos x="46" y="3"/>
                  </a:cxn>
                  <a:cxn ang="0">
                    <a:pos x="39" y="0"/>
                  </a:cxn>
                  <a:cxn ang="0">
                    <a:pos x="33" y="0"/>
                  </a:cxn>
                  <a:cxn ang="0">
                    <a:pos x="26" y="0"/>
                  </a:cxn>
                  <a:cxn ang="0">
                    <a:pos x="21" y="3"/>
                  </a:cxn>
                  <a:cxn ang="0">
                    <a:pos x="14" y="6"/>
                  </a:cxn>
                  <a:cxn ang="0">
                    <a:pos x="10" y="10"/>
                  </a:cxn>
                  <a:cxn ang="0">
                    <a:pos x="10" y="10"/>
                  </a:cxn>
                  <a:cxn ang="0">
                    <a:pos x="5" y="15"/>
                  </a:cxn>
                  <a:cxn ang="0">
                    <a:pos x="1" y="21"/>
                  </a:cxn>
                  <a:cxn ang="0">
                    <a:pos x="0" y="26"/>
                  </a:cxn>
                  <a:cxn ang="0">
                    <a:pos x="0" y="33"/>
                  </a:cxn>
                  <a:cxn ang="0">
                    <a:pos x="0" y="40"/>
                  </a:cxn>
                  <a:cxn ang="0">
                    <a:pos x="1" y="46"/>
                  </a:cxn>
                  <a:cxn ang="0">
                    <a:pos x="5" y="51"/>
                  </a:cxn>
                  <a:cxn ang="0">
                    <a:pos x="10" y="57"/>
                  </a:cxn>
                  <a:cxn ang="0">
                    <a:pos x="93" y="140"/>
                  </a:cxn>
                  <a:cxn ang="0">
                    <a:pos x="93" y="140"/>
                  </a:cxn>
                </a:cxnLst>
                <a:rect l="0" t="0" r="r" b="b"/>
                <a:pathLst>
                  <a:path w="192" h="193">
                    <a:moveTo>
                      <a:pt x="93" y="140"/>
                    </a:moveTo>
                    <a:lnTo>
                      <a:pt x="93" y="140"/>
                    </a:lnTo>
                    <a:lnTo>
                      <a:pt x="93" y="151"/>
                    </a:lnTo>
                    <a:lnTo>
                      <a:pt x="95" y="161"/>
                    </a:lnTo>
                    <a:lnTo>
                      <a:pt x="101" y="170"/>
                    </a:lnTo>
                    <a:lnTo>
                      <a:pt x="107" y="179"/>
                    </a:lnTo>
                    <a:lnTo>
                      <a:pt x="107" y="179"/>
                    </a:lnTo>
                    <a:lnTo>
                      <a:pt x="115" y="184"/>
                    </a:lnTo>
                    <a:lnTo>
                      <a:pt x="123" y="190"/>
                    </a:lnTo>
                    <a:lnTo>
                      <a:pt x="133" y="193"/>
                    </a:lnTo>
                    <a:lnTo>
                      <a:pt x="143" y="193"/>
                    </a:lnTo>
                    <a:lnTo>
                      <a:pt x="152" y="193"/>
                    </a:lnTo>
                    <a:lnTo>
                      <a:pt x="161" y="190"/>
                    </a:lnTo>
                    <a:lnTo>
                      <a:pt x="170" y="184"/>
                    </a:lnTo>
                    <a:lnTo>
                      <a:pt x="177" y="179"/>
                    </a:lnTo>
                    <a:lnTo>
                      <a:pt x="177" y="179"/>
                    </a:lnTo>
                    <a:lnTo>
                      <a:pt x="184" y="170"/>
                    </a:lnTo>
                    <a:lnTo>
                      <a:pt x="188" y="162"/>
                    </a:lnTo>
                    <a:lnTo>
                      <a:pt x="191" y="152"/>
                    </a:lnTo>
                    <a:lnTo>
                      <a:pt x="192" y="143"/>
                    </a:lnTo>
                    <a:lnTo>
                      <a:pt x="191" y="133"/>
                    </a:lnTo>
                    <a:lnTo>
                      <a:pt x="188" y="125"/>
                    </a:lnTo>
                    <a:lnTo>
                      <a:pt x="184" y="115"/>
                    </a:lnTo>
                    <a:lnTo>
                      <a:pt x="177" y="108"/>
                    </a:lnTo>
                    <a:lnTo>
                      <a:pt x="177" y="108"/>
                    </a:lnTo>
                    <a:lnTo>
                      <a:pt x="169" y="101"/>
                    </a:lnTo>
                    <a:lnTo>
                      <a:pt x="159" y="96"/>
                    </a:lnTo>
                    <a:lnTo>
                      <a:pt x="149" y="94"/>
                    </a:lnTo>
                    <a:lnTo>
                      <a:pt x="140" y="93"/>
                    </a:lnTo>
                    <a:lnTo>
                      <a:pt x="57" y="10"/>
                    </a:lnTo>
                    <a:lnTo>
                      <a:pt x="57" y="10"/>
                    </a:lnTo>
                    <a:lnTo>
                      <a:pt x="51" y="6"/>
                    </a:lnTo>
                    <a:lnTo>
                      <a:pt x="46" y="3"/>
                    </a:lnTo>
                    <a:lnTo>
                      <a:pt x="39" y="0"/>
                    </a:lnTo>
                    <a:lnTo>
                      <a:pt x="33" y="0"/>
                    </a:lnTo>
                    <a:lnTo>
                      <a:pt x="26" y="0"/>
                    </a:lnTo>
                    <a:lnTo>
                      <a:pt x="21" y="3"/>
                    </a:lnTo>
                    <a:lnTo>
                      <a:pt x="14" y="6"/>
                    </a:lnTo>
                    <a:lnTo>
                      <a:pt x="10" y="10"/>
                    </a:lnTo>
                    <a:lnTo>
                      <a:pt x="10" y="10"/>
                    </a:lnTo>
                    <a:lnTo>
                      <a:pt x="5" y="15"/>
                    </a:lnTo>
                    <a:lnTo>
                      <a:pt x="1" y="21"/>
                    </a:lnTo>
                    <a:lnTo>
                      <a:pt x="0" y="26"/>
                    </a:lnTo>
                    <a:lnTo>
                      <a:pt x="0" y="33"/>
                    </a:lnTo>
                    <a:lnTo>
                      <a:pt x="0" y="40"/>
                    </a:lnTo>
                    <a:lnTo>
                      <a:pt x="1" y="46"/>
                    </a:lnTo>
                    <a:lnTo>
                      <a:pt x="5" y="51"/>
                    </a:lnTo>
                    <a:lnTo>
                      <a:pt x="10" y="57"/>
                    </a:lnTo>
                    <a:lnTo>
                      <a:pt x="93" y="140"/>
                    </a:lnTo>
                    <a:lnTo>
                      <a:pt x="93" y="1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graphicFrame>
        <p:nvGraphicFramePr>
          <p:cNvPr id="4" name="表格 5">
            <a:extLst>
              <a:ext uri="{FF2B5EF4-FFF2-40B4-BE49-F238E27FC236}">
                <a16:creationId xmlns:a16="http://schemas.microsoft.com/office/drawing/2014/main" id="{80F86063-E383-4B1F-A00B-C95256A665D1}"/>
              </a:ext>
            </a:extLst>
          </p:cNvPr>
          <p:cNvGraphicFramePr>
            <a:graphicFrameLocks noGrp="1"/>
          </p:cNvGraphicFramePr>
          <p:nvPr/>
        </p:nvGraphicFramePr>
        <p:xfrm>
          <a:off x="1129565" y="2623546"/>
          <a:ext cx="4123215" cy="251460"/>
        </p:xfrm>
        <a:graphic>
          <a:graphicData uri="http://schemas.openxmlformats.org/drawingml/2006/table">
            <a:tbl>
              <a:tblPr firstRow="1" bandRow="1">
                <a:tableStyleId>{7DF18680-E054-41AD-8BC1-D1AEF772440D}</a:tableStyleId>
              </a:tblPr>
              <a:tblGrid>
                <a:gridCol w="364284">
                  <a:extLst>
                    <a:ext uri="{9D8B030D-6E8A-4147-A177-3AD203B41FA5}">
                      <a16:colId xmlns:a16="http://schemas.microsoft.com/office/drawing/2014/main" val="669168553"/>
                    </a:ext>
                  </a:extLst>
                </a:gridCol>
                <a:gridCol w="1490931">
                  <a:extLst>
                    <a:ext uri="{9D8B030D-6E8A-4147-A177-3AD203B41FA5}">
                      <a16:colId xmlns:a16="http://schemas.microsoft.com/office/drawing/2014/main" val="4057643097"/>
                    </a:ext>
                  </a:extLst>
                </a:gridCol>
                <a:gridCol w="2268000">
                  <a:extLst>
                    <a:ext uri="{9D8B030D-6E8A-4147-A177-3AD203B41FA5}">
                      <a16:colId xmlns:a16="http://schemas.microsoft.com/office/drawing/2014/main" val="3960924346"/>
                    </a:ext>
                  </a:extLst>
                </a:gridCol>
              </a:tblGrid>
              <a:tr h="180000">
                <a:tc>
                  <a:txBody>
                    <a:bodyPr/>
                    <a:lstStyle/>
                    <a:p>
                      <a:pPr algn="ctr"/>
                      <a:r>
                        <a:rPr lang="en-US" altLang="zh-CN" sz="1050" dirty="0">
                          <a:solidFill>
                            <a:srgbClr val="1A1918"/>
                          </a:solidFill>
                          <a:latin typeface="微软雅黑" panose="020B0503020204020204" pitchFamily="34" charset="-122"/>
                          <a:ea typeface="微软雅黑" panose="020B0503020204020204" pitchFamily="34" charset="-122"/>
                        </a:rPr>
                        <a:t>38</a:t>
                      </a:r>
                      <a:endParaRPr lang="zh-CN" altLang="en-US" sz="1050" dirty="0">
                        <a:solidFill>
                          <a:srgbClr val="1A1918"/>
                        </a:solidFill>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zh-CN" altLang="en-US" sz="1050" dirty="0">
                          <a:solidFill>
                            <a:srgbClr val="1A1918"/>
                          </a:solidFill>
                          <a:latin typeface="微软雅黑" panose="020B0503020204020204" pitchFamily="34" charset="-122"/>
                          <a:ea typeface="微软雅黑" panose="020B0503020204020204" pitchFamily="34" charset="-122"/>
                        </a:rPr>
                        <a:t>遗传性血管性水肿</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altLang="zh-CN" sz="1050" dirty="0">
                          <a:solidFill>
                            <a:srgbClr val="1A1918"/>
                          </a:solidFill>
                          <a:latin typeface="微软雅黑" panose="020B0503020204020204" pitchFamily="34" charset="-122"/>
                          <a:ea typeface="微软雅黑" panose="020B0503020204020204" pitchFamily="34" charset="-122"/>
                        </a:rPr>
                        <a:t>Hereditary Angioedema (HAE)</a:t>
                      </a:r>
                      <a:endParaRPr lang="zh-CN" altLang="en-US" sz="1050" dirty="0">
                        <a:solidFill>
                          <a:srgbClr val="1A1918"/>
                        </a:solidFill>
                        <a:latin typeface="微软雅黑" panose="020B0503020204020204" pitchFamily="34" charset="-122"/>
                        <a:ea typeface="微软雅黑" panose="020B0503020204020204" pitchFamily="34" charset="-122"/>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84706087"/>
                  </a:ext>
                </a:extLst>
              </a:tr>
            </a:tbl>
          </a:graphicData>
        </a:graphic>
      </p:graphicFrame>
      <p:grpSp>
        <p:nvGrpSpPr>
          <p:cNvPr id="84" name="组合 83">
            <a:extLst>
              <a:ext uri="{FF2B5EF4-FFF2-40B4-BE49-F238E27FC236}">
                <a16:creationId xmlns:a16="http://schemas.microsoft.com/office/drawing/2014/main" id="{D8B9FB31-2AC1-42AF-B713-2EA116DF29EC}"/>
              </a:ext>
            </a:extLst>
          </p:cNvPr>
          <p:cNvGrpSpPr/>
          <p:nvPr/>
        </p:nvGrpSpPr>
        <p:grpSpPr>
          <a:xfrm>
            <a:off x="1740235" y="5122727"/>
            <a:ext cx="2846478" cy="1234653"/>
            <a:chOff x="1496091" y="4519471"/>
            <a:chExt cx="3816087" cy="1722743"/>
          </a:xfrm>
        </p:grpSpPr>
        <p:grpSp>
          <p:nvGrpSpPr>
            <p:cNvPr id="85" name="组合 84">
              <a:extLst>
                <a:ext uri="{FF2B5EF4-FFF2-40B4-BE49-F238E27FC236}">
                  <a16:creationId xmlns:a16="http://schemas.microsoft.com/office/drawing/2014/main" id="{DBBBC6AC-CB5F-46AF-94A2-D89A406DE6C8}"/>
                </a:ext>
              </a:extLst>
            </p:cNvPr>
            <p:cNvGrpSpPr/>
            <p:nvPr/>
          </p:nvGrpSpPr>
          <p:grpSpPr>
            <a:xfrm>
              <a:off x="1558374" y="4519471"/>
              <a:ext cx="3596823" cy="1641978"/>
              <a:chOff x="1558374" y="4519471"/>
              <a:chExt cx="3596823" cy="1641978"/>
            </a:xfrm>
          </p:grpSpPr>
          <p:pic>
            <p:nvPicPr>
              <p:cNvPr id="90" name="图片 89">
                <a:extLst>
                  <a:ext uri="{FF2B5EF4-FFF2-40B4-BE49-F238E27FC236}">
                    <a16:creationId xmlns:a16="http://schemas.microsoft.com/office/drawing/2014/main" id="{8A8DAB4C-57B6-4B76-BDE2-599BC86668FF}"/>
                  </a:ext>
                </a:extLst>
              </p:cNvPr>
              <p:cNvPicPr>
                <a:picLocks noChangeAspect="1"/>
              </p:cNvPicPr>
              <p:nvPr/>
            </p:nvPicPr>
            <p:blipFill>
              <a:blip r:embed="rId9"/>
              <a:stretch>
                <a:fillRect/>
              </a:stretch>
            </p:blipFill>
            <p:spPr>
              <a:xfrm>
                <a:off x="3125780" y="4620551"/>
                <a:ext cx="481563" cy="1487814"/>
              </a:xfrm>
              <a:prstGeom prst="rect">
                <a:avLst/>
              </a:prstGeom>
            </p:spPr>
          </p:pic>
          <p:pic>
            <p:nvPicPr>
              <p:cNvPr id="91" name="图片 90">
                <a:extLst>
                  <a:ext uri="{FF2B5EF4-FFF2-40B4-BE49-F238E27FC236}">
                    <a16:creationId xmlns:a16="http://schemas.microsoft.com/office/drawing/2014/main" id="{CF257C04-931D-4D91-A2C4-EEF5E3666C3E}"/>
                  </a:ext>
                </a:extLst>
              </p:cNvPr>
              <p:cNvPicPr>
                <a:picLocks noChangeAspect="1"/>
              </p:cNvPicPr>
              <p:nvPr/>
            </p:nvPicPr>
            <p:blipFill>
              <a:blip r:embed="rId10"/>
              <a:stretch>
                <a:fillRect/>
              </a:stretch>
            </p:blipFill>
            <p:spPr>
              <a:xfrm>
                <a:off x="4500579" y="4519471"/>
                <a:ext cx="654618" cy="733413"/>
              </a:xfrm>
              <a:prstGeom prst="rect">
                <a:avLst/>
              </a:prstGeom>
            </p:spPr>
          </p:pic>
          <p:sp>
            <p:nvSpPr>
              <p:cNvPr id="92" name="矩形 91">
                <a:extLst>
                  <a:ext uri="{FF2B5EF4-FFF2-40B4-BE49-F238E27FC236}">
                    <a16:creationId xmlns:a16="http://schemas.microsoft.com/office/drawing/2014/main" id="{6D57619F-F551-4555-AB40-5BC9F800860E}"/>
                  </a:ext>
                </a:extLst>
              </p:cNvPr>
              <p:cNvSpPr/>
              <p:nvPr/>
            </p:nvSpPr>
            <p:spPr>
              <a:xfrm>
                <a:off x="3819893" y="4647401"/>
                <a:ext cx="528926" cy="136678"/>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100" b="1" dirty="0">
                    <a:solidFill>
                      <a:srgbClr val="1A1918"/>
                    </a:solidFill>
                    <a:latin typeface="微软雅黑" panose="020B0503020204020204" pitchFamily="34" charset="-122"/>
                    <a:ea typeface="微软雅黑" panose="020B0503020204020204" pitchFamily="34" charset="-122"/>
                  </a:rPr>
                  <a:t>面部</a:t>
                </a:r>
                <a:r>
                  <a:rPr kumimoji="1" lang="en-US" altLang="zh-CN" sz="1100" b="1" dirty="0">
                    <a:solidFill>
                      <a:srgbClr val="1A1918"/>
                    </a:solidFill>
                    <a:latin typeface="微软雅黑" panose="020B0503020204020204" pitchFamily="34" charset="-122"/>
                    <a:ea typeface="微软雅黑" panose="020B0503020204020204" pitchFamily="34" charset="-122"/>
                  </a:rPr>
                  <a:t>/</a:t>
                </a:r>
                <a:r>
                  <a:rPr kumimoji="1" lang="zh-CN" altLang="en-US" sz="1100" b="1" dirty="0">
                    <a:solidFill>
                      <a:srgbClr val="1A1918"/>
                    </a:solidFill>
                    <a:latin typeface="微软雅黑" panose="020B0503020204020204" pitchFamily="34" charset="-122"/>
                    <a:ea typeface="微软雅黑" panose="020B0503020204020204" pitchFamily="34" charset="-122"/>
                  </a:rPr>
                  <a:t>皮肤</a:t>
                </a:r>
              </a:p>
            </p:txBody>
          </p:sp>
          <p:sp>
            <p:nvSpPr>
              <p:cNvPr id="93" name="矩形 92">
                <a:extLst>
                  <a:ext uri="{FF2B5EF4-FFF2-40B4-BE49-F238E27FC236}">
                    <a16:creationId xmlns:a16="http://schemas.microsoft.com/office/drawing/2014/main" id="{A7732E62-EC1A-4131-985D-45A15DE42570}"/>
                  </a:ext>
                </a:extLst>
              </p:cNvPr>
              <p:cNvSpPr/>
              <p:nvPr/>
            </p:nvSpPr>
            <p:spPr>
              <a:xfrm>
                <a:off x="2467561" y="4760543"/>
                <a:ext cx="528926" cy="136678"/>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100" b="1" dirty="0">
                    <a:solidFill>
                      <a:srgbClr val="1A1918"/>
                    </a:solidFill>
                    <a:latin typeface="微软雅黑" panose="020B0503020204020204" pitchFamily="34" charset="-122"/>
                    <a:ea typeface="微软雅黑" panose="020B0503020204020204" pitchFamily="34" charset="-122"/>
                  </a:rPr>
                  <a:t>喉部</a:t>
                </a:r>
              </a:p>
            </p:txBody>
          </p:sp>
          <p:pic>
            <p:nvPicPr>
              <p:cNvPr id="94" name="图片 93">
                <a:extLst>
                  <a:ext uri="{FF2B5EF4-FFF2-40B4-BE49-F238E27FC236}">
                    <a16:creationId xmlns:a16="http://schemas.microsoft.com/office/drawing/2014/main" id="{86FBF23C-044B-4D3D-A4C9-8ECC80F5E9FD}"/>
                  </a:ext>
                </a:extLst>
              </p:cNvPr>
              <p:cNvPicPr>
                <a:picLocks noChangeAspect="1"/>
              </p:cNvPicPr>
              <p:nvPr/>
            </p:nvPicPr>
            <p:blipFill>
              <a:blip r:embed="rId11"/>
              <a:stretch>
                <a:fillRect/>
              </a:stretch>
            </p:blipFill>
            <p:spPr>
              <a:xfrm>
                <a:off x="1607248" y="4561476"/>
                <a:ext cx="621674" cy="666480"/>
              </a:xfrm>
              <a:prstGeom prst="rect">
                <a:avLst/>
              </a:prstGeom>
            </p:spPr>
          </p:pic>
          <p:sp>
            <p:nvSpPr>
              <p:cNvPr id="95" name="矩形 94">
                <a:extLst>
                  <a:ext uri="{FF2B5EF4-FFF2-40B4-BE49-F238E27FC236}">
                    <a16:creationId xmlns:a16="http://schemas.microsoft.com/office/drawing/2014/main" id="{259CF705-BACC-4538-BD06-87F782A3EEF6}"/>
                  </a:ext>
                </a:extLst>
              </p:cNvPr>
              <p:cNvSpPr/>
              <p:nvPr/>
            </p:nvSpPr>
            <p:spPr>
              <a:xfrm>
                <a:off x="3619408" y="5107079"/>
                <a:ext cx="528926" cy="136678"/>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100" b="1">
                    <a:solidFill>
                      <a:srgbClr val="1A1918"/>
                    </a:solidFill>
                    <a:latin typeface="微软雅黑" panose="020B0503020204020204" pitchFamily="34" charset="-122"/>
                    <a:ea typeface="微软雅黑" panose="020B0503020204020204" pitchFamily="34" charset="-122"/>
                  </a:rPr>
                  <a:t>胃肠</a:t>
                </a:r>
              </a:p>
            </p:txBody>
          </p:sp>
          <p:pic>
            <p:nvPicPr>
              <p:cNvPr id="96" name="图片 95">
                <a:extLst>
                  <a:ext uri="{FF2B5EF4-FFF2-40B4-BE49-F238E27FC236}">
                    <a16:creationId xmlns:a16="http://schemas.microsoft.com/office/drawing/2014/main" id="{8DC5AD35-ADC7-45A4-A8BA-CAF9FD76580A}"/>
                  </a:ext>
                </a:extLst>
              </p:cNvPr>
              <p:cNvPicPr>
                <a:picLocks noChangeAspect="1"/>
              </p:cNvPicPr>
              <p:nvPr/>
            </p:nvPicPr>
            <p:blipFill>
              <a:blip r:embed="rId12"/>
              <a:stretch>
                <a:fillRect/>
              </a:stretch>
            </p:blipFill>
            <p:spPr>
              <a:xfrm>
                <a:off x="4496430" y="5403790"/>
                <a:ext cx="654618" cy="757659"/>
              </a:xfrm>
              <a:prstGeom prst="rect">
                <a:avLst/>
              </a:prstGeom>
            </p:spPr>
          </p:pic>
          <p:sp>
            <p:nvSpPr>
              <p:cNvPr id="97" name="矩形 96">
                <a:extLst>
                  <a:ext uri="{FF2B5EF4-FFF2-40B4-BE49-F238E27FC236}">
                    <a16:creationId xmlns:a16="http://schemas.microsoft.com/office/drawing/2014/main" id="{ECA9D802-BCEC-4D3D-8DFB-0017A482DA68}"/>
                  </a:ext>
                </a:extLst>
              </p:cNvPr>
              <p:cNvSpPr/>
              <p:nvPr/>
            </p:nvSpPr>
            <p:spPr>
              <a:xfrm>
                <a:off x="2480712" y="5364458"/>
                <a:ext cx="528926" cy="136678"/>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100" b="1" dirty="0">
                    <a:solidFill>
                      <a:srgbClr val="1A1918"/>
                    </a:solidFill>
                    <a:latin typeface="微软雅黑" panose="020B0503020204020204" pitchFamily="34" charset="-122"/>
                    <a:ea typeface="微软雅黑" panose="020B0503020204020204" pitchFamily="34" charset="-122"/>
                  </a:rPr>
                  <a:t>生殖器</a:t>
                </a:r>
              </a:p>
            </p:txBody>
          </p:sp>
          <p:sp>
            <p:nvSpPr>
              <p:cNvPr id="98" name="矩形 97">
                <a:extLst>
                  <a:ext uri="{FF2B5EF4-FFF2-40B4-BE49-F238E27FC236}">
                    <a16:creationId xmlns:a16="http://schemas.microsoft.com/office/drawing/2014/main" id="{9B0AAA3F-5075-437E-BC03-D417A088E7A0}"/>
                  </a:ext>
                </a:extLst>
              </p:cNvPr>
              <p:cNvSpPr/>
              <p:nvPr/>
            </p:nvSpPr>
            <p:spPr>
              <a:xfrm>
                <a:off x="3632761" y="5703435"/>
                <a:ext cx="528926" cy="136678"/>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100" b="1">
                    <a:solidFill>
                      <a:srgbClr val="1A1918"/>
                    </a:solidFill>
                    <a:latin typeface="微软雅黑" panose="020B0503020204020204" pitchFamily="34" charset="-122"/>
                    <a:ea typeface="微软雅黑" panose="020B0503020204020204" pitchFamily="34" charset="-122"/>
                  </a:rPr>
                  <a:t>四肢</a:t>
                </a:r>
              </a:p>
            </p:txBody>
          </p:sp>
          <p:pic>
            <p:nvPicPr>
              <p:cNvPr id="99" name="图片 98">
                <a:extLst>
                  <a:ext uri="{FF2B5EF4-FFF2-40B4-BE49-F238E27FC236}">
                    <a16:creationId xmlns:a16="http://schemas.microsoft.com/office/drawing/2014/main" id="{A54A106A-73AA-47CA-B1F9-4AA46591FC46}"/>
                  </a:ext>
                </a:extLst>
              </p:cNvPr>
              <p:cNvPicPr>
                <a:picLocks noChangeAspect="1"/>
              </p:cNvPicPr>
              <p:nvPr/>
            </p:nvPicPr>
            <p:blipFill>
              <a:blip r:embed="rId13"/>
              <a:stretch>
                <a:fillRect/>
              </a:stretch>
            </p:blipFill>
            <p:spPr>
              <a:xfrm>
                <a:off x="1558374" y="5399906"/>
                <a:ext cx="630472" cy="734586"/>
              </a:xfrm>
              <a:prstGeom prst="rect">
                <a:avLst/>
              </a:prstGeom>
            </p:spPr>
          </p:pic>
        </p:grpSp>
        <p:sp>
          <p:nvSpPr>
            <p:cNvPr id="86" name="文本框 85">
              <a:extLst>
                <a:ext uri="{FF2B5EF4-FFF2-40B4-BE49-F238E27FC236}">
                  <a16:creationId xmlns:a16="http://schemas.microsoft.com/office/drawing/2014/main" id="{D852D9E7-13C6-4868-8FB5-B7FB2B85B74B}"/>
                </a:ext>
              </a:extLst>
            </p:cNvPr>
            <p:cNvSpPr txBox="1"/>
            <p:nvPr/>
          </p:nvSpPr>
          <p:spPr>
            <a:xfrm>
              <a:off x="1496091" y="5107079"/>
              <a:ext cx="843989" cy="300615"/>
            </a:xfrm>
            <a:prstGeom prst="rect">
              <a:avLst/>
            </a:prstGeom>
            <a:solidFill>
              <a:schemeClr val="bg1"/>
            </a:solidFill>
          </p:spPr>
          <p:txBody>
            <a:bodyPr wrap="square">
              <a:spAutoFit/>
            </a:bodyPr>
            <a:lstStyle/>
            <a:p>
              <a:r>
                <a:rPr kumimoji="1" lang="zh-CN" altLang="en-US" sz="800" dirty="0">
                  <a:solidFill>
                    <a:srgbClr val="1A1918"/>
                  </a:solidFill>
                  <a:latin typeface="微软雅黑" panose="020B0503020204020204" pitchFamily="34" charset="-122"/>
                  <a:ea typeface="微软雅黑" panose="020B0503020204020204" pitchFamily="34" charset="-122"/>
                </a:rPr>
                <a:t>喉部水肿</a:t>
              </a:r>
              <a:endParaRPr lang="zh-CN" altLang="en-US" sz="1050" dirty="0"/>
            </a:p>
          </p:txBody>
        </p:sp>
        <p:sp>
          <p:nvSpPr>
            <p:cNvPr id="87" name="文本框 86">
              <a:extLst>
                <a:ext uri="{FF2B5EF4-FFF2-40B4-BE49-F238E27FC236}">
                  <a16:creationId xmlns:a16="http://schemas.microsoft.com/office/drawing/2014/main" id="{F6E9BF40-98A8-4E9E-ADCA-1FF9BA52A43B}"/>
                </a:ext>
              </a:extLst>
            </p:cNvPr>
            <p:cNvSpPr txBox="1"/>
            <p:nvPr/>
          </p:nvSpPr>
          <p:spPr>
            <a:xfrm>
              <a:off x="1524539" y="6013569"/>
              <a:ext cx="843989" cy="215444"/>
            </a:xfrm>
            <a:prstGeom prst="rect">
              <a:avLst/>
            </a:prstGeom>
            <a:solidFill>
              <a:schemeClr val="bg1"/>
            </a:solidFill>
          </p:spPr>
          <p:txBody>
            <a:bodyPr wrap="square">
              <a:spAutoFit/>
            </a:bodyPr>
            <a:lstStyle/>
            <a:p>
              <a:r>
                <a:rPr kumimoji="1" lang="zh-CN" altLang="en-US" sz="800" dirty="0">
                  <a:solidFill>
                    <a:srgbClr val="1A1918"/>
                  </a:solidFill>
                  <a:latin typeface="微软雅黑" panose="020B0503020204020204" pitchFamily="34" charset="-122"/>
                  <a:ea typeface="微软雅黑" panose="020B0503020204020204" pitchFamily="34" charset="-122"/>
                </a:rPr>
                <a:t>皮肤水肿</a:t>
              </a:r>
              <a:endParaRPr lang="zh-CN" altLang="en-US" sz="1050" dirty="0"/>
            </a:p>
          </p:txBody>
        </p:sp>
        <p:sp>
          <p:nvSpPr>
            <p:cNvPr id="88" name="文本框 87">
              <a:extLst>
                <a:ext uri="{FF2B5EF4-FFF2-40B4-BE49-F238E27FC236}">
                  <a16:creationId xmlns:a16="http://schemas.microsoft.com/office/drawing/2014/main" id="{B66A192F-2CA8-4A5F-8081-0470511B22C4}"/>
                </a:ext>
              </a:extLst>
            </p:cNvPr>
            <p:cNvSpPr txBox="1"/>
            <p:nvPr/>
          </p:nvSpPr>
          <p:spPr>
            <a:xfrm>
              <a:off x="4468190" y="5149014"/>
              <a:ext cx="843988" cy="215444"/>
            </a:xfrm>
            <a:prstGeom prst="rect">
              <a:avLst/>
            </a:prstGeom>
            <a:solidFill>
              <a:schemeClr val="bg1"/>
            </a:solidFill>
          </p:spPr>
          <p:txBody>
            <a:bodyPr wrap="square">
              <a:spAutoFit/>
            </a:bodyPr>
            <a:lstStyle/>
            <a:p>
              <a:r>
                <a:rPr kumimoji="1" lang="zh-CN" altLang="en-US" sz="800" dirty="0">
                  <a:solidFill>
                    <a:srgbClr val="1A1918"/>
                  </a:solidFill>
                  <a:latin typeface="微软雅黑" panose="020B0503020204020204" pitchFamily="34" charset="-122"/>
                  <a:ea typeface="微软雅黑" panose="020B0503020204020204" pitchFamily="34" charset="-122"/>
                </a:rPr>
                <a:t>面部水肿</a:t>
              </a:r>
              <a:endParaRPr lang="zh-CN" altLang="en-US" sz="1050" dirty="0"/>
            </a:p>
          </p:txBody>
        </p:sp>
        <p:sp>
          <p:nvSpPr>
            <p:cNvPr id="89" name="文本框 88">
              <a:extLst>
                <a:ext uri="{FF2B5EF4-FFF2-40B4-BE49-F238E27FC236}">
                  <a16:creationId xmlns:a16="http://schemas.microsoft.com/office/drawing/2014/main" id="{64D849A6-D738-43AA-86CE-643AA44361EB}"/>
                </a:ext>
              </a:extLst>
            </p:cNvPr>
            <p:cNvSpPr txBox="1"/>
            <p:nvPr/>
          </p:nvSpPr>
          <p:spPr>
            <a:xfrm>
              <a:off x="4468189" y="6026770"/>
              <a:ext cx="843988" cy="215444"/>
            </a:xfrm>
            <a:prstGeom prst="rect">
              <a:avLst/>
            </a:prstGeom>
            <a:solidFill>
              <a:schemeClr val="bg1"/>
            </a:solidFill>
          </p:spPr>
          <p:txBody>
            <a:bodyPr wrap="square">
              <a:spAutoFit/>
            </a:bodyPr>
            <a:lstStyle/>
            <a:p>
              <a:r>
                <a:rPr kumimoji="1" lang="zh-CN" altLang="en-US" sz="800" dirty="0">
                  <a:solidFill>
                    <a:srgbClr val="1A1918"/>
                  </a:solidFill>
                  <a:latin typeface="微软雅黑" panose="020B0503020204020204" pitchFamily="34" charset="-122"/>
                  <a:ea typeface="微软雅黑" panose="020B0503020204020204" pitchFamily="34" charset="-122"/>
                </a:rPr>
                <a:t>腹部水肿</a:t>
              </a:r>
              <a:endParaRPr lang="zh-CN" altLang="en-US" sz="1050" dirty="0"/>
            </a:p>
          </p:txBody>
        </p:sp>
      </p:grpSp>
    </p:spTree>
    <p:extLst>
      <p:ext uri="{BB962C8B-B14F-4D97-AF65-F5344CB8AC3E}">
        <p14:creationId xmlns:p14="http://schemas.microsoft.com/office/powerpoint/2010/main" val="27322081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矩形: 圆角 24">
            <a:extLst>
              <a:ext uri="{FF2B5EF4-FFF2-40B4-BE49-F238E27FC236}">
                <a16:creationId xmlns:a16="http://schemas.microsoft.com/office/drawing/2014/main" id="{CB4343A5-25D6-430E-BE44-97B676CE2A1D}"/>
              </a:ext>
            </a:extLst>
          </p:cNvPr>
          <p:cNvSpPr/>
          <p:nvPr/>
        </p:nvSpPr>
        <p:spPr>
          <a:xfrm>
            <a:off x="9798742" y="4419601"/>
            <a:ext cx="1826521" cy="1997074"/>
          </a:xfrm>
          <a:prstGeom prst="roundRect">
            <a:avLst>
              <a:gd name="adj" fmla="val 15717"/>
            </a:avLst>
          </a:prstGeom>
          <a:solidFill>
            <a:srgbClr val="FCEAEA"/>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sz="1600">
              <a:solidFill>
                <a:schemeClr val="accent2"/>
              </a:solidFill>
              <a:latin typeface="微软雅黑" panose="020B0503020204020204" pitchFamily="34" charset="-122"/>
              <a:ea typeface="微软雅黑" panose="020B0503020204020204" pitchFamily="34" charset="-122"/>
            </a:endParaRPr>
          </a:p>
        </p:txBody>
      </p:sp>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a:xfrm>
            <a:off x="1038225" y="209230"/>
            <a:ext cx="9508106" cy="685801"/>
          </a:xfrm>
        </p:spPr>
        <p:txBody>
          <a:bodyPr>
            <a:normAutofit/>
          </a:bodyPr>
          <a:lstStyle/>
          <a:p>
            <a:r>
              <a:rPr lang="zh-CN" altLang="en-US" sz="3200">
                <a:solidFill>
                  <a:srgbClr val="1A1918"/>
                </a:solidFill>
                <a:latin typeface="微软雅黑" panose="020B0503020204020204" pitchFamily="34" charset="-122"/>
                <a:ea typeface="微软雅黑" panose="020B0503020204020204" pitchFamily="34" charset="-122"/>
              </a:rPr>
              <a:t>安全性</a:t>
            </a:r>
          </a:p>
        </p:txBody>
      </p:sp>
      <p:sp>
        <p:nvSpPr>
          <p:cNvPr id="22" name="椭圆 21">
            <a:extLst>
              <a:ext uri="{FF2B5EF4-FFF2-40B4-BE49-F238E27FC236}">
                <a16:creationId xmlns:a16="http://schemas.microsoft.com/office/drawing/2014/main" id="{5F530736-32AD-42C7-B3FC-79FE10B74A3A}"/>
              </a:ext>
            </a:extLst>
          </p:cNvPr>
          <p:cNvSpPr/>
          <p:nvPr/>
        </p:nvSpPr>
        <p:spPr>
          <a:xfrm>
            <a:off x="616186" y="315174"/>
            <a:ext cx="360000" cy="360000"/>
          </a:xfrm>
          <a:prstGeom prst="ellipse">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a:solidFill>
                  <a:schemeClr val="bg1"/>
                </a:solidFill>
                <a:latin typeface="微软雅黑" panose="020B0503020204020204" pitchFamily="34" charset="-122"/>
                <a:ea typeface="微软雅黑" panose="020B0503020204020204" pitchFamily="34" charset="-122"/>
              </a:rPr>
              <a:t>2</a:t>
            </a:r>
            <a:endParaRPr kumimoji="1" lang="zh-CN" altLang="en-US" sz="1600" b="1">
              <a:solidFill>
                <a:schemeClr val="bg1"/>
              </a:solidFill>
              <a:latin typeface="微软雅黑" panose="020B0503020204020204" pitchFamily="34" charset="-122"/>
              <a:ea typeface="微软雅黑" panose="020B0503020204020204" pitchFamily="34" charset="-122"/>
            </a:endParaRPr>
          </a:p>
        </p:txBody>
      </p:sp>
      <p:sp>
        <p:nvSpPr>
          <p:cNvPr id="14" name="文本框 13">
            <a:extLst>
              <a:ext uri="{FF2B5EF4-FFF2-40B4-BE49-F238E27FC236}">
                <a16:creationId xmlns:a16="http://schemas.microsoft.com/office/drawing/2014/main" id="{DE919A7C-DE5B-4AE7-9C78-217840C806D4}"/>
              </a:ext>
            </a:extLst>
          </p:cNvPr>
          <p:cNvSpPr txBox="1"/>
          <p:nvPr/>
        </p:nvSpPr>
        <p:spPr>
          <a:xfrm>
            <a:off x="597523" y="1243013"/>
            <a:ext cx="11448297" cy="954107"/>
          </a:xfrm>
          <a:prstGeom prst="rect">
            <a:avLst/>
          </a:prstGeom>
          <a:noFill/>
        </p:spPr>
        <p:txBody>
          <a:bodyPr wrap="square">
            <a:spAutoFit/>
          </a:bodyPr>
          <a:lstStyle>
            <a:defPPr>
              <a:defRPr lang="en-US"/>
            </a:defPPr>
            <a:lvl1pPr marL="171450" indent="-171450">
              <a:buFont typeface="Arial" panose="020B0604020202020204" pitchFamily="34" charset="0"/>
              <a:buChar char="•"/>
              <a:defRPr sz="1200" b="1" u="none" strike="noStrike" baseline="0">
                <a:solidFill>
                  <a:srgbClr val="333333"/>
                </a:solidFill>
                <a:latin typeface="微软雅黑" panose="020B0503020204020204" pitchFamily="34" charset="-122"/>
                <a:ea typeface="微软雅黑" panose="020B0503020204020204" pitchFamily="34" charset="-122"/>
              </a:defRPr>
            </a:lvl1pPr>
          </a:lstStyle>
          <a:p>
            <a:r>
              <a:rPr lang="zh-CN" altLang="en-US" sz="1400" b="0" u="none" strike="noStrike" baseline="0" dirty="0">
                <a:solidFill>
                  <a:srgbClr val="1A1918"/>
                </a:solidFill>
                <a:latin typeface="微软雅黑" panose="020B0503020204020204" pitchFamily="34" charset="-122"/>
                <a:ea typeface="微软雅黑" panose="020B0503020204020204" pitchFamily="34" charset="-122"/>
              </a:rPr>
              <a:t>临床试验中，</a:t>
            </a:r>
            <a:r>
              <a:rPr lang="zh-CN" altLang="en-US" sz="1400" b="0" dirty="0">
                <a:solidFill>
                  <a:srgbClr val="1A1918"/>
                </a:solidFill>
              </a:rPr>
              <a:t>最常见的不良反应为注射部位反应，</a:t>
            </a:r>
            <a:r>
              <a:rPr lang="zh-CN" altLang="en-US" sz="1400" u="none" strike="noStrike" baseline="0" dirty="0">
                <a:solidFill>
                  <a:schemeClr val="accent2"/>
                </a:solidFill>
                <a:latin typeface="微软雅黑" panose="020B0503020204020204" pitchFamily="34" charset="-122"/>
                <a:ea typeface="微软雅黑" panose="020B0503020204020204" pitchFamily="34" charset="-122"/>
              </a:rPr>
              <a:t>大多数（</a:t>
            </a:r>
            <a:r>
              <a:rPr lang="en-US" altLang="zh-CN" sz="1400" u="none" strike="noStrike" baseline="0" dirty="0">
                <a:solidFill>
                  <a:schemeClr val="accent2"/>
                </a:solidFill>
                <a:latin typeface="微软雅黑" panose="020B0503020204020204" pitchFamily="34" charset="-122"/>
                <a:ea typeface="微软雅黑" panose="020B0503020204020204" pitchFamily="34" charset="-122"/>
              </a:rPr>
              <a:t>97%</a:t>
            </a:r>
            <a:r>
              <a:rPr lang="zh-CN" altLang="en-US" sz="1400" u="none" strike="noStrike" baseline="0" dirty="0">
                <a:solidFill>
                  <a:schemeClr val="accent2"/>
                </a:solidFill>
                <a:latin typeface="微软雅黑" panose="020B0503020204020204" pitchFamily="34" charset="-122"/>
                <a:ea typeface="微软雅黑" panose="020B0503020204020204" pitchFamily="34" charset="-122"/>
              </a:rPr>
              <a:t>）注射部位反应的严重程度为轻度，且</a:t>
            </a:r>
            <a:r>
              <a:rPr lang="en-US" altLang="zh-CN" sz="1400" u="none" strike="noStrike" baseline="0" dirty="0">
                <a:solidFill>
                  <a:schemeClr val="accent2"/>
                </a:solidFill>
                <a:latin typeface="微软雅黑" panose="020B0503020204020204" pitchFamily="34" charset="-122"/>
                <a:ea typeface="微软雅黑" panose="020B0503020204020204" pitchFamily="34" charset="-122"/>
              </a:rPr>
              <a:t>90%</a:t>
            </a:r>
            <a:r>
              <a:rPr lang="zh-CN" altLang="en-US" sz="1400" u="none" strike="noStrike" baseline="0" dirty="0">
                <a:solidFill>
                  <a:schemeClr val="accent2"/>
                </a:solidFill>
                <a:latin typeface="微软雅黑" panose="020B0503020204020204" pitchFamily="34" charset="-122"/>
                <a:ea typeface="微软雅黑" panose="020B0503020204020204" pitchFamily="34" charset="-122"/>
              </a:rPr>
              <a:t>在发病后</a:t>
            </a:r>
            <a:r>
              <a:rPr lang="en-US" altLang="zh-CN" sz="1400" u="none" strike="noStrike" baseline="0" dirty="0">
                <a:solidFill>
                  <a:schemeClr val="accent2"/>
                </a:solidFill>
                <a:latin typeface="微软雅黑" panose="020B0503020204020204" pitchFamily="34" charset="-122"/>
                <a:ea typeface="微软雅黑" panose="020B0503020204020204" pitchFamily="34" charset="-122"/>
              </a:rPr>
              <a:t>1</a:t>
            </a:r>
            <a:r>
              <a:rPr lang="zh-CN" altLang="en-US" sz="1400" u="none" strike="noStrike" baseline="0" dirty="0">
                <a:solidFill>
                  <a:schemeClr val="accent2"/>
                </a:solidFill>
                <a:latin typeface="微软雅黑" panose="020B0503020204020204" pitchFamily="34" charset="-122"/>
                <a:ea typeface="微软雅黑" panose="020B0503020204020204" pitchFamily="34" charset="-122"/>
              </a:rPr>
              <a:t>天内自行缓解（中位持续时间为</a:t>
            </a:r>
            <a:r>
              <a:rPr lang="en-US" altLang="zh-CN" sz="1400" u="none" strike="noStrike" baseline="0" dirty="0">
                <a:solidFill>
                  <a:schemeClr val="accent2"/>
                </a:solidFill>
                <a:latin typeface="微软雅黑" panose="020B0503020204020204" pitchFamily="34" charset="-122"/>
                <a:ea typeface="微软雅黑" panose="020B0503020204020204" pitchFamily="34" charset="-122"/>
              </a:rPr>
              <a:t>6min</a:t>
            </a:r>
            <a:r>
              <a:rPr lang="zh-CN" altLang="en-US" sz="1400" u="none" strike="noStrike" baseline="0" dirty="0">
                <a:solidFill>
                  <a:schemeClr val="accent2"/>
                </a:solidFill>
                <a:latin typeface="微软雅黑" panose="020B0503020204020204" pitchFamily="34" charset="-122"/>
                <a:ea typeface="微软雅黑" panose="020B0503020204020204" pitchFamily="34" charset="-122"/>
              </a:rPr>
              <a:t>）</a:t>
            </a:r>
            <a:r>
              <a:rPr lang="en-US" altLang="zh-CN" sz="1400" b="0" u="none" strike="noStrike" baseline="30000" dirty="0">
                <a:solidFill>
                  <a:schemeClr val="tx1"/>
                </a:solidFill>
                <a:latin typeface="微软雅黑" panose="020B0503020204020204" pitchFamily="34" charset="-122"/>
                <a:ea typeface="微软雅黑" panose="020B0503020204020204" pitchFamily="34" charset="-122"/>
              </a:rPr>
              <a:t>1</a:t>
            </a:r>
          </a:p>
          <a:p>
            <a:r>
              <a:rPr lang="zh-CN" altLang="en-US" sz="1400" dirty="0">
                <a:solidFill>
                  <a:schemeClr val="accent2"/>
                </a:solidFill>
              </a:rPr>
              <a:t>试验中无治疗相关的严重</a:t>
            </a:r>
            <a:r>
              <a:rPr lang="en-US" altLang="zh-CN" sz="1400" dirty="0">
                <a:solidFill>
                  <a:schemeClr val="accent2"/>
                </a:solidFill>
              </a:rPr>
              <a:t>AE</a:t>
            </a:r>
            <a:r>
              <a:rPr lang="zh-CN" altLang="en-US" sz="1400" dirty="0">
                <a:solidFill>
                  <a:schemeClr val="accent2"/>
                </a:solidFill>
              </a:rPr>
              <a:t>发生，无</a:t>
            </a:r>
            <a:r>
              <a:rPr lang="en-US" altLang="zh-CN" sz="1400" dirty="0">
                <a:solidFill>
                  <a:schemeClr val="accent2"/>
                </a:solidFill>
              </a:rPr>
              <a:t>AE</a:t>
            </a:r>
            <a:r>
              <a:rPr lang="zh-CN" altLang="en-US" sz="1400" dirty="0">
                <a:solidFill>
                  <a:schemeClr val="accent2"/>
                </a:solidFill>
              </a:rPr>
              <a:t>导致死亡发生</a:t>
            </a:r>
            <a:endParaRPr lang="en-US" altLang="zh-CN" sz="1400" u="none" strike="noStrike" baseline="0" dirty="0">
              <a:solidFill>
                <a:srgbClr val="1A1918"/>
              </a:solidFill>
              <a:latin typeface="微软雅黑" panose="020B0503020204020204" pitchFamily="34" charset="-122"/>
              <a:ea typeface="微软雅黑" panose="020B0503020204020204" pitchFamily="34" charset="-122"/>
            </a:endParaRPr>
          </a:p>
          <a:p>
            <a:r>
              <a:rPr lang="zh-CN" altLang="en-US" sz="1400" b="0" dirty="0">
                <a:solidFill>
                  <a:srgbClr val="1A1918"/>
                </a:solidFill>
              </a:rPr>
              <a:t>拉那利尤单抗在</a:t>
            </a:r>
            <a:r>
              <a:rPr lang="zh-CN" altLang="en-US" sz="1400" dirty="0">
                <a:solidFill>
                  <a:schemeClr val="accent2"/>
                </a:solidFill>
              </a:rPr>
              <a:t>儿童人群（</a:t>
            </a:r>
            <a:r>
              <a:rPr lang="en-US" altLang="zh-CN" sz="1400" dirty="0">
                <a:solidFill>
                  <a:schemeClr val="accent2"/>
                </a:solidFill>
              </a:rPr>
              <a:t>12-18</a:t>
            </a:r>
            <a:r>
              <a:rPr lang="zh-CN" altLang="en-US" sz="1400" dirty="0">
                <a:solidFill>
                  <a:schemeClr val="accent2"/>
                </a:solidFill>
              </a:rPr>
              <a:t>岁）中的安全性特征与在成人中的一致</a:t>
            </a:r>
            <a:r>
              <a:rPr lang="zh-CN" altLang="en-US" sz="1400" b="0" dirty="0">
                <a:solidFill>
                  <a:srgbClr val="1A1918"/>
                </a:solidFill>
              </a:rPr>
              <a:t>。各国家或药监部门未发布安全性警告、黑框警告或撤市信息</a:t>
            </a:r>
          </a:p>
        </p:txBody>
      </p:sp>
      <p:sp>
        <p:nvSpPr>
          <p:cNvPr id="15" name="Text Placeholder 5">
            <a:extLst>
              <a:ext uri="{FF2B5EF4-FFF2-40B4-BE49-F238E27FC236}">
                <a16:creationId xmlns:a16="http://schemas.microsoft.com/office/drawing/2014/main" id="{B3732146-12B2-4F63-8D34-E17C53F16CFA}"/>
              </a:ext>
            </a:extLst>
          </p:cNvPr>
          <p:cNvSpPr txBox="1">
            <a:spLocks/>
          </p:cNvSpPr>
          <p:nvPr/>
        </p:nvSpPr>
        <p:spPr>
          <a:xfrm>
            <a:off x="1038224" y="817217"/>
            <a:ext cx="10853737" cy="263075"/>
          </a:xfrm>
          <a:prstGeom prst="rect">
            <a:avLst/>
          </a:prstGeom>
        </p:spPr>
        <p:txBody>
          <a:bodyP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zh-CN" sz="1800" b="1" dirty="0">
                <a:solidFill>
                  <a:srgbClr val="1A1918"/>
                </a:solidFill>
                <a:latin typeface="微软雅黑" panose="020B0503020204020204" pitchFamily="34" charset="-122"/>
                <a:ea typeface="微软雅黑" panose="020B0503020204020204" pitchFamily="34" charset="-122"/>
              </a:rPr>
              <a:t>——</a:t>
            </a:r>
            <a:r>
              <a:rPr lang="zh-CN" altLang="en-US" sz="1800" b="1" dirty="0">
                <a:solidFill>
                  <a:srgbClr val="1A1918"/>
                </a:solidFill>
                <a:latin typeface="微软雅黑" panose="020B0503020204020204" pitchFamily="34" charset="-122"/>
                <a:ea typeface="微软雅黑" panose="020B0503020204020204" pitchFamily="34" charset="-122"/>
              </a:rPr>
              <a:t>拉那利尤单抗安全可耐受，儿童人群中的安全性与成人一致，各国家均未发布安全性黑框警告</a:t>
            </a:r>
          </a:p>
        </p:txBody>
      </p:sp>
      <p:graphicFrame>
        <p:nvGraphicFramePr>
          <p:cNvPr id="16" name="表格 15">
            <a:extLst>
              <a:ext uri="{FF2B5EF4-FFF2-40B4-BE49-F238E27FC236}">
                <a16:creationId xmlns:a16="http://schemas.microsoft.com/office/drawing/2014/main" id="{D0453FB1-3F2C-47F3-8BBE-E6F4FEFEE894}"/>
              </a:ext>
            </a:extLst>
          </p:cNvPr>
          <p:cNvGraphicFramePr>
            <a:graphicFrameLocks noGrp="1"/>
          </p:cNvGraphicFramePr>
          <p:nvPr>
            <p:extLst>
              <p:ext uri="{D42A27DB-BD31-4B8C-83A1-F6EECF244321}">
                <p14:modId xmlns:p14="http://schemas.microsoft.com/office/powerpoint/2010/main" val="755384546"/>
              </p:ext>
            </p:extLst>
          </p:nvPr>
        </p:nvGraphicFramePr>
        <p:xfrm>
          <a:off x="1660018" y="2770558"/>
          <a:ext cx="7823675" cy="3295335"/>
        </p:xfrm>
        <a:graphic>
          <a:graphicData uri="http://schemas.openxmlformats.org/drawingml/2006/table">
            <a:tbl>
              <a:tblPr>
                <a:tableStyleId>{0E3FDE45-AF77-4B5C-9715-49D594BDF05E}</a:tableStyleId>
              </a:tblPr>
              <a:tblGrid>
                <a:gridCol w="1564735">
                  <a:extLst>
                    <a:ext uri="{9D8B030D-6E8A-4147-A177-3AD203B41FA5}">
                      <a16:colId xmlns:a16="http://schemas.microsoft.com/office/drawing/2014/main" val="1019943070"/>
                    </a:ext>
                  </a:extLst>
                </a:gridCol>
                <a:gridCol w="1564735">
                  <a:extLst>
                    <a:ext uri="{9D8B030D-6E8A-4147-A177-3AD203B41FA5}">
                      <a16:colId xmlns:a16="http://schemas.microsoft.com/office/drawing/2014/main" val="590342868"/>
                    </a:ext>
                  </a:extLst>
                </a:gridCol>
                <a:gridCol w="1564735">
                  <a:extLst>
                    <a:ext uri="{9D8B030D-6E8A-4147-A177-3AD203B41FA5}">
                      <a16:colId xmlns:a16="http://schemas.microsoft.com/office/drawing/2014/main" val="131039211"/>
                    </a:ext>
                  </a:extLst>
                </a:gridCol>
                <a:gridCol w="1564735">
                  <a:extLst>
                    <a:ext uri="{9D8B030D-6E8A-4147-A177-3AD203B41FA5}">
                      <a16:colId xmlns:a16="http://schemas.microsoft.com/office/drawing/2014/main" val="1817060320"/>
                    </a:ext>
                  </a:extLst>
                </a:gridCol>
                <a:gridCol w="1564735">
                  <a:extLst>
                    <a:ext uri="{9D8B030D-6E8A-4147-A177-3AD203B41FA5}">
                      <a16:colId xmlns:a16="http://schemas.microsoft.com/office/drawing/2014/main" val="2848837728"/>
                    </a:ext>
                  </a:extLst>
                </a:gridCol>
              </a:tblGrid>
              <a:tr h="505741">
                <a:tc>
                  <a:txBody>
                    <a:bodyPr/>
                    <a:lstStyle/>
                    <a:p>
                      <a:pPr algn="ctr" fontAlgn="ctr"/>
                      <a:r>
                        <a:rPr lang="en-US" altLang="zh-CN" sz="1200" b="1" i="0" u="none" strike="noStrike" dirty="0">
                          <a:solidFill>
                            <a:srgbClr val="1A1918"/>
                          </a:solidFill>
                          <a:effectLst/>
                          <a:latin typeface="微软雅黑" panose="020B0503020204020204" pitchFamily="34" charset="-122"/>
                          <a:ea typeface="微软雅黑" panose="020B0503020204020204" pitchFamily="34" charset="-122"/>
                        </a:rPr>
                        <a:t>AE</a:t>
                      </a:r>
                      <a:r>
                        <a:rPr lang="zh-CN" altLang="en-US" sz="1200" b="1" i="0" u="none" strike="noStrike" dirty="0">
                          <a:solidFill>
                            <a:srgbClr val="1A1918"/>
                          </a:solidFill>
                          <a:effectLst/>
                          <a:latin typeface="微软雅黑" panose="020B0503020204020204" pitchFamily="34" charset="-122"/>
                          <a:ea typeface="微软雅黑" panose="020B0503020204020204" pitchFamily="34" charset="-122"/>
                        </a:rPr>
                        <a:t>，</a:t>
                      </a:r>
                      <a:r>
                        <a:rPr lang="en-US" altLang="zh-CN" sz="1200" b="1" i="0" u="none" strike="noStrike" dirty="0">
                          <a:solidFill>
                            <a:srgbClr val="1A1918"/>
                          </a:solidFill>
                          <a:effectLst/>
                          <a:latin typeface="微软雅黑" panose="020B0503020204020204" pitchFamily="34" charset="-122"/>
                          <a:ea typeface="微软雅黑" panose="020B0503020204020204" pitchFamily="34" charset="-122"/>
                        </a:rPr>
                        <a:t>n (%)</a:t>
                      </a:r>
                      <a:endParaRPr lang="zh-CN" altLang="en-US" sz="1200" b="1" i="0" u="none" strike="noStrike" dirty="0">
                        <a:solidFill>
                          <a:srgbClr val="1A1918"/>
                        </a:solidFill>
                        <a:effectLst/>
                        <a:latin typeface="微软雅黑" panose="020B0503020204020204" pitchFamily="34" charset="-122"/>
                        <a:ea typeface="微软雅黑" panose="020B0503020204020204" pitchFamily="34" charset="-122"/>
                      </a:endParaRPr>
                    </a:p>
                  </a:txBody>
                  <a:tcPr marL="0" marR="0" marT="0" marB="0" anchor="ctr">
                    <a:solidFill>
                      <a:schemeClr val="accent2">
                        <a:lumMod val="20000"/>
                        <a:lumOff val="80000"/>
                      </a:schemeClr>
                    </a:solidFill>
                  </a:tcPr>
                </a:tc>
                <a:tc>
                  <a:txBody>
                    <a:bodyPr/>
                    <a:lstStyle/>
                    <a:p>
                      <a:pPr algn="ctr" fontAlgn="ctr"/>
                      <a:r>
                        <a:rPr lang="zh-CN" altLang="en-US" sz="1200" b="1" u="none" strike="noStrike" dirty="0">
                          <a:solidFill>
                            <a:srgbClr val="1A1918"/>
                          </a:solidFill>
                          <a:effectLst/>
                          <a:latin typeface="微软雅黑" panose="020B0503020204020204" pitchFamily="34" charset="-122"/>
                          <a:ea typeface="微软雅黑" panose="020B0503020204020204" pitchFamily="34" charset="-122"/>
                        </a:rPr>
                        <a:t>拉那利尤单抗</a:t>
                      </a:r>
                      <a:endParaRPr lang="en-US" altLang="zh-CN" sz="1200" b="1" u="none" strike="noStrike" dirty="0">
                        <a:solidFill>
                          <a:srgbClr val="1A1918"/>
                        </a:solidFill>
                        <a:effectLst/>
                        <a:latin typeface="微软雅黑" panose="020B0503020204020204" pitchFamily="34" charset="-122"/>
                        <a:ea typeface="微软雅黑" panose="020B0503020204020204" pitchFamily="34" charset="-122"/>
                      </a:endParaRPr>
                    </a:p>
                    <a:p>
                      <a:pPr algn="ctr" fontAlgn="ctr"/>
                      <a:r>
                        <a:rPr lang="en-US" altLang="zh-CN" sz="1200" b="1" i="0" u="none" strike="noStrike" dirty="0">
                          <a:solidFill>
                            <a:srgbClr val="1A1918"/>
                          </a:solidFill>
                          <a:effectLst/>
                          <a:latin typeface="微软雅黑" panose="020B0503020204020204" pitchFamily="34" charset="-122"/>
                          <a:ea typeface="微软雅黑" panose="020B0503020204020204" pitchFamily="34" charset="-122"/>
                        </a:rPr>
                        <a:t>150mg Q4W</a:t>
                      </a:r>
                    </a:p>
                    <a:p>
                      <a:pPr algn="ctr" fontAlgn="ctr"/>
                      <a:r>
                        <a:rPr lang="zh-CN" altLang="en-US" sz="1200" b="1" i="0" u="none" strike="noStrike" dirty="0">
                          <a:solidFill>
                            <a:srgbClr val="1A1918"/>
                          </a:solidFill>
                          <a:effectLst/>
                          <a:latin typeface="微软雅黑" panose="020B0503020204020204" pitchFamily="34" charset="-122"/>
                          <a:ea typeface="微软雅黑" panose="020B0503020204020204" pitchFamily="34" charset="-122"/>
                        </a:rPr>
                        <a:t>（</a:t>
                      </a:r>
                      <a:r>
                        <a:rPr lang="en-US" altLang="zh-CN" sz="1200" b="1" i="0" u="none" strike="noStrike" dirty="0">
                          <a:solidFill>
                            <a:srgbClr val="1A1918"/>
                          </a:solidFill>
                          <a:effectLst/>
                          <a:latin typeface="微软雅黑" panose="020B0503020204020204" pitchFamily="34" charset="-122"/>
                          <a:ea typeface="微软雅黑" panose="020B0503020204020204" pitchFamily="34" charset="-122"/>
                        </a:rPr>
                        <a:t>n=28)</a:t>
                      </a:r>
                      <a:endParaRPr lang="zh-CN" altLang="en-US" sz="1200" b="1" i="0" u="none" strike="noStrike" dirty="0">
                        <a:solidFill>
                          <a:srgbClr val="1A1918"/>
                        </a:solidFill>
                        <a:effectLst/>
                        <a:latin typeface="微软雅黑" panose="020B0503020204020204" pitchFamily="34" charset="-122"/>
                        <a:ea typeface="微软雅黑" panose="020B0503020204020204" pitchFamily="34" charset="-122"/>
                      </a:endParaRPr>
                    </a:p>
                  </a:txBody>
                  <a:tcPr marL="0" marR="0" marT="0" marB="0" anchor="ctr">
                    <a:solidFill>
                      <a:schemeClr val="accent2">
                        <a:lumMod val="20000"/>
                        <a:lumOff val="80000"/>
                      </a:schemeClr>
                    </a:solidFill>
                  </a:tcPr>
                </a:tc>
                <a:tc>
                  <a:txBody>
                    <a:bodyPr/>
                    <a:lstStyle/>
                    <a:p>
                      <a:pPr algn="ctr" fontAlgn="ctr"/>
                      <a:r>
                        <a:rPr lang="zh-CN" altLang="en-US" sz="1200" b="1" u="none" strike="noStrike">
                          <a:solidFill>
                            <a:srgbClr val="1A1918"/>
                          </a:solidFill>
                          <a:effectLst/>
                          <a:latin typeface="微软雅黑" panose="020B0503020204020204" pitchFamily="34" charset="-122"/>
                          <a:ea typeface="微软雅黑" panose="020B0503020204020204" pitchFamily="34" charset="-122"/>
                        </a:rPr>
                        <a:t>拉那利尤单抗</a:t>
                      </a:r>
                      <a:endParaRPr lang="en-US" altLang="zh-CN" sz="1200" b="1" u="none" strike="noStrike">
                        <a:solidFill>
                          <a:srgbClr val="1A1918"/>
                        </a:solidFill>
                        <a:effectLst/>
                        <a:latin typeface="微软雅黑" panose="020B0503020204020204" pitchFamily="34" charset="-122"/>
                        <a:ea typeface="微软雅黑" panose="020B0503020204020204" pitchFamily="34" charset="-122"/>
                      </a:endParaRPr>
                    </a:p>
                    <a:p>
                      <a:pPr algn="ctr" fontAlgn="ctr"/>
                      <a:r>
                        <a:rPr lang="en-US" altLang="zh-CN" sz="1200" b="1" i="0" u="none" strike="noStrike">
                          <a:solidFill>
                            <a:srgbClr val="1A1918"/>
                          </a:solidFill>
                          <a:effectLst/>
                          <a:latin typeface="微软雅黑" panose="020B0503020204020204" pitchFamily="34" charset="-122"/>
                          <a:ea typeface="微软雅黑" panose="020B0503020204020204" pitchFamily="34" charset="-122"/>
                        </a:rPr>
                        <a:t>300mg Q4W</a:t>
                      </a:r>
                    </a:p>
                    <a:p>
                      <a:pPr algn="ctr" fontAlgn="ctr"/>
                      <a:r>
                        <a:rPr lang="zh-CN" altLang="en-US" sz="1200" b="1" i="0" u="none" strike="noStrike">
                          <a:solidFill>
                            <a:srgbClr val="1A1918"/>
                          </a:solidFill>
                          <a:effectLst/>
                          <a:latin typeface="微软雅黑" panose="020B0503020204020204" pitchFamily="34" charset="-122"/>
                          <a:ea typeface="微软雅黑" panose="020B0503020204020204" pitchFamily="34" charset="-122"/>
                        </a:rPr>
                        <a:t>（</a:t>
                      </a:r>
                      <a:r>
                        <a:rPr lang="en-US" altLang="zh-CN" sz="1200" b="1" i="0" u="none" strike="noStrike">
                          <a:solidFill>
                            <a:srgbClr val="1A1918"/>
                          </a:solidFill>
                          <a:effectLst/>
                          <a:latin typeface="微软雅黑" panose="020B0503020204020204" pitchFamily="34" charset="-122"/>
                          <a:ea typeface="微软雅黑" panose="020B0503020204020204" pitchFamily="34" charset="-122"/>
                        </a:rPr>
                        <a:t>n=29)</a:t>
                      </a:r>
                      <a:endParaRPr lang="zh-CN" altLang="en-US" sz="1200" b="1" i="0" u="none" strike="noStrike">
                        <a:solidFill>
                          <a:srgbClr val="1A1918"/>
                        </a:solidFill>
                        <a:effectLst/>
                        <a:latin typeface="微软雅黑" panose="020B0503020204020204" pitchFamily="34" charset="-122"/>
                        <a:ea typeface="微软雅黑" panose="020B0503020204020204" pitchFamily="34" charset="-122"/>
                      </a:endParaRPr>
                    </a:p>
                  </a:txBody>
                  <a:tcPr marL="0" marR="0" marT="0" marB="0" anchor="ctr">
                    <a:solidFill>
                      <a:schemeClr val="accent2">
                        <a:lumMod val="20000"/>
                        <a:lumOff val="80000"/>
                      </a:schemeClr>
                    </a:solidFill>
                  </a:tcPr>
                </a:tc>
                <a:tc>
                  <a:txBody>
                    <a:bodyPr/>
                    <a:lstStyle/>
                    <a:p>
                      <a:pPr algn="ctr" fontAlgn="ctr"/>
                      <a:r>
                        <a:rPr lang="zh-CN" altLang="en-US" sz="1200" b="1" u="none" strike="noStrike" dirty="0">
                          <a:solidFill>
                            <a:srgbClr val="1A1918"/>
                          </a:solidFill>
                          <a:effectLst/>
                          <a:latin typeface="微软雅黑" panose="020B0503020204020204" pitchFamily="34" charset="-122"/>
                          <a:ea typeface="微软雅黑" panose="020B0503020204020204" pitchFamily="34" charset="-122"/>
                        </a:rPr>
                        <a:t>拉那利尤单抗</a:t>
                      </a:r>
                      <a:endParaRPr lang="en-US" altLang="zh-CN" sz="1200" b="1" u="none" strike="noStrike" dirty="0">
                        <a:solidFill>
                          <a:srgbClr val="1A1918"/>
                        </a:solidFill>
                        <a:effectLst/>
                        <a:latin typeface="微软雅黑" panose="020B0503020204020204" pitchFamily="34" charset="-122"/>
                        <a:ea typeface="微软雅黑" panose="020B0503020204020204" pitchFamily="34" charset="-122"/>
                      </a:endParaRPr>
                    </a:p>
                    <a:p>
                      <a:pPr algn="ctr" fontAlgn="ctr"/>
                      <a:r>
                        <a:rPr lang="en-US" altLang="zh-CN" sz="1200" b="1" i="0" u="none" strike="noStrike" dirty="0">
                          <a:solidFill>
                            <a:srgbClr val="1A1918"/>
                          </a:solidFill>
                          <a:effectLst/>
                          <a:latin typeface="微软雅黑" panose="020B0503020204020204" pitchFamily="34" charset="-122"/>
                          <a:ea typeface="微软雅黑" panose="020B0503020204020204" pitchFamily="34" charset="-122"/>
                        </a:rPr>
                        <a:t>300mg Q2W</a:t>
                      </a:r>
                    </a:p>
                    <a:p>
                      <a:pPr algn="ctr" fontAlgn="ctr"/>
                      <a:r>
                        <a:rPr lang="zh-CN" altLang="en-US" sz="1200" b="1" i="0" u="none" strike="noStrike" dirty="0">
                          <a:solidFill>
                            <a:srgbClr val="1A1918"/>
                          </a:solidFill>
                          <a:effectLst/>
                          <a:latin typeface="微软雅黑" panose="020B0503020204020204" pitchFamily="34" charset="-122"/>
                          <a:ea typeface="微软雅黑" panose="020B0503020204020204" pitchFamily="34" charset="-122"/>
                        </a:rPr>
                        <a:t>（</a:t>
                      </a:r>
                      <a:r>
                        <a:rPr lang="en-US" altLang="zh-CN" sz="1200" b="1" i="0" u="none" strike="noStrike" dirty="0">
                          <a:solidFill>
                            <a:srgbClr val="1A1918"/>
                          </a:solidFill>
                          <a:effectLst/>
                          <a:latin typeface="微软雅黑" panose="020B0503020204020204" pitchFamily="34" charset="-122"/>
                          <a:ea typeface="微软雅黑" panose="020B0503020204020204" pitchFamily="34" charset="-122"/>
                        </a:rPr>
                        <a:t>n=27)</a:t>
                      </a:r>
                      <a:endParaRPr lang="zh-CN" altLang="en-US" sz="1200" b="1" i="0" u="none" strike="noStrike" dirty="0">
                        <a:solidFill>
                          <a:srgbClr val="1A1918"/>
                        </a:solidFill>
                        <a:effectLst/>
                        <a:latin typeface="微软雅黑" panose="020B0503020204020204" pitchFamily="34" charset="-122"/>
                        <a:ea typeface="微软雅黑" panose="020B0503020204020204" pitchFamily="34" charset="-122"/>
                      </a:endParaRPr>
                    </a:p>
                  </a:txBody>
                  <a:tcPr marL="0" marR="0" marT="0" marB="0" anchor="ctr">
                    <a:solidFill>
                      <a:schemeClr val="accent2">
                        <a:lumMod val="20000"/>
                        <a:lumOff val="80000"/>
                      </a:schemeClr>
                    </a:solidFill>
                  </a:tcPr>
                </a:tc>
                <a:tc>
                  <a:txBody>
                    <a:bodyPr/>
                    <a:lstStyle/>
                    <a:p>
                      <a:pPr marL="0" algn="ctr" defTabSz="914150" rtl="0" eaLnBrk="1" fontAlgn="ctr" latinLnBrk="0" hangingPunct="1"/>
                      <a:r>
                        <a:rPr kumimoji="1" lang="zh-CN" altLang="en-US" sz="1200" b="1" u="none" strike="noStrike" kern="1200">
                          <a:solidFill>
                            <a:srgbClr val="1A1918"/>
                          </a:solidFill>
                          <a:effectLst/>
                          <a:latin typeface="微软雅黑" panose="020B0503020204020204" pitchFamily="34" charset="-122"/>
                          <a:ea typeface="微软雅黑" panose="020B0503020204020204" pitchFamily="34" charset="-122"/>
                          <a:cs typeface="+mn-cs"/>
                        </a:rPr>
                        <a:t>安慰剂</a:t>
                      </a:r>
                      <a:endParaRPr kumimoji="1" lang="en-US" altLang="zh-CN" sz="1200" b="1" u="none" strike="noStrike" kern="1200">
                        <a:solidFill>
                          <a:srgbClr val="1A1918"/>
                        </a:solidFill>
                        <a:effectLst/>
                        <a:latin typeface="微软雅黑" panose="020B0503020204020204" pitchFamily="34" charset="-122"/>
                        <a:ea typeface="微软雅黑" panose="020B0503020204020204" pitchFamily="34" charset="-122"/>
                        <a:cs typeface="+mn-cs"/>
                      </a:endParaRPr>
                    </a:p>
                    <a:p>
                      <a:pPr marL="0" algn="ctr" defTabSz="914150" rtl="0" eaLnBrk="1" fontAlgn="ctr" latinLnBrk="0" hangingPunct="1"/>
                      <a:r>
                        <a:rPr kumimoji="1" lang="zh-CN" altLang="en-US" sz="1200" b="1" u="none" strike="noStrike" kern="1200">
                          <a:solidFill>
                            <a:srgbClr val="1A1918"/>
                          </a:solidFill>
                          <a:effectLst/>
                          <a:latin typeface="微软雅黑" panose="020B0503020204020204" pitchFamily="34" charset="-122"/>
                          <a:ea typeface="微软雅黑" panose="020B0503020204020204" pitchFamily="34" charset="-122"/>
                          <a:cs typeface="+mn-cs"/>
                        </a:rPr>
                        <a:t>（</a:t>
                      </a:r>
                      <a:r>
                        <a:rPr kumimoji="1" lang="en-US" altLang="zh-CN" sz="1200" b="1" u="none" strike="noStrike" kern="1200">
                          <a:solidFill>
                            <a:srgbClr val="1A1918"/>
                          </a:solidFill>
                          <a:effectLst/>
                          <a:latin typeface="微软雅黑" panose="020B0503020204020204" pitchFamily="34" charset="-122"/>
                          <a:ea typeface="微软雅黑" panose="020B0503020204020204" pitchFamily="34" charset="-122"/>
                          <a:cs typeface="+mn-cs"/>
                        </a:rPr>
                        <a:t>n=41)</a:t>
                      </a:r>
                      <a:endParaRPr kumimoji="1" lang="zh-CN" altLang="en-US" sz="1200" b="1" u="none" strike="noStrike" kern="1200">
                        <a:solidFill>
                          <a:srgbClr val="1A1918"/>
                        </a:solidFill>
                        <a:effectLst/>
                        <a:latin typeface="微软雅黑" panose="020B0503020204020204" pitchFamily="34" charset="-122"/>
                        <a:ea typeface="微软雅黑" panose="020B0503020204020204" pitchFamily="34" charset="-122"/>
                        <a:cs typeface="+mn-cs"/>
                      </a:endParaRPr>
                    </a:p>
                  </a:txBody>
                  <a:tcPr marL="0" marR="0" marT="0" marB="0" anchor="ctr">
                    <a:solidFill>
                      <a:schemeClr val="accent2">
                        <a:lumMod val="20000"/>
                        <a:lumOff val="80000"/>
                      </a:schemeClr>
                    </a:solidFill>
                  </a:tcPr>
                </a:tc>
                <a:extLst>
                  <a:ext uri="{0D108BD9-81ED-4DB2-BD59-A6C34878D82A}">
                    <a16:rowId xmlns:a16="http://schemas.microsoft.com/office/drawing/2014/main" val="2678035673"/>
                  </a:ext>
                </a:extLst>
              </a:tr>
              <a:tr h="392385">
                <a:tc>
                  <a:txBody>
                    <a:bodyPr/>
                    <a:lstStyle/>
                    <a:p>
                      <a:pPr algn="ctr" fontAlgn="ctr"/>
                      <a:r>
                        <a:rPr lang="zh-CN" altLang="en-US" sz="1200" b="1" i="0" u="none" strike="noStrike">
                          <a:solidFill>
                            <a:srgbClr val="1A1918"/>
                          </a:solidFill>
                          <a:effectLst/>
                          <a:latin typeface="微软雅黑" panose="020B0503020204020204" pitchFamily="34" charset="-122"/>
                          <a:ea typeface="微软雅黑" panose="020B0503020204020204" pitchFamily="34" charset="-122"/>
                        </a:rPr>
                        <a:t>治疗相关</a:t>
                      </a:r>
                      <a:r>
                        <a:rPr lang="en-US" altLang="zh-CN" sz="1200" b="1" i="0" u="none" strike="noStrike">
                          <a:solidFill>
                            <a:srgbClr val="1A1918"/>
                          </a:solidFill>
                          <a:effectLst/>
                          <a:latin typeface="微软雅黑" panose="020B0503020204020204" pitchFamily="34" charset="-122"/>
                          <a:ea typeface="微软雅黑" panose="020B0503020204020204" pitchFamily="34" charset="-122"/>
                        </a:rPr>
                        <a:t>AE</a:t>
                      </a:r>
                      <a:endParaRPr lang="zh-CN" altLang="en-US" sz="1200" b="1" i="0" u="none" strike="noStrike">
                        <a:solidFill>
                          <a:srgbClr val="1A1918"/>
                        </a:solidFill>
                        <a:effectLst/>
                        <a:latin typeface="微软雅黑" panose="020B0503020204020204" pitchFamily="34" charset="-122"/>
                        <a:ea typeface="微软雅黑" panose="020B0503020204020204" pitchFamily="34" charset="-122"/>
                      </a:endParaRPr>
                    </a:p>
                  </a:txBody>
                  <a:tcPr marL="0" marR="0" marT="0" marB="0" anchor="ctr"/>
                </a:tc>
                <a:tc>
                  <a:txBody>
                    <a:bodyPr/>
                    <a:lstStyle/>
                    <a:p>
                      <a:pPr algn="ctr" fontAlgn="ct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17</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60.7</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p>
                  </a:txBody>
                  <a:tcPr marL="0" marR="0" marT="0" marB="0" anchor="ctr"/>
                </a:tc>
                <a:tc>
                  <a:txBody>
                    <a:bodyPr/>
                    <a:lstStyle/>
                    <a:p>
                      <a:pPr algn="ctr" fontAlgn="ct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14</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48.3</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p>
                  </a:txBody>
                  <a:tcPr marL="0" marR="0" marT="0" marB="0" anchor="ctr"/>
                </a:tc>
                <a:tc>
                  <a:txBody>
                    <a:bodyPr/>
                    <a:lstStyle/>
                    <a:p>
                      <a:pPr algn="ctr" fontAlgn="ct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19</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70.4</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p>
                  </a:txBody>
                  <a:tcPr marL="0" marR="0" marT="0" marB="0" anchor="ctr">
                    <a:solidFill>
                      <a:srgbClr val="FCEAEA"/>
                    </a:solidFill>
                  </a:tcPr>
                </a:tc>
                <a:tc>
                  <a:txBody>
                    <a:bodyPr/>
                    <a:lstStyle/>
                    <a:p>
                      <a:pPr marL="0" algn="ctr" defTabSz="914150" rtl="0" eaLnBrk="1" fontAlgn="ctr" latinLnBrk="0" hangingPunct="1"/>
                      <a:r>
                        <a:rPr kumimoji="1" lang="en-US" altLang="zh-CN" sz="1200" b="0" u="none" strike="noStrike" kern="1200">
                          <a:solidFill>
                            <a:srgbClr val="1A1918"/>
                          </a:solidFill>
                          <a:effectLst/>
                          <a:latin typeface="微软雅黑" panose="020B0503020204020204" pitchFamily="34" charset="-122"/>
                          <a:ea typeface="微软雅黑" panose="020B0503020204020204" pitchFamily="34" charset="-122"/>
                          <a:cs typeface="+mn-cs"/>
                        </a:rPr>
                        <a:t>14</a:t>
                      </a:r>
                      <a:r>
                        <a:rPr kumimoji="1" lang="zh-CN" altLang="en-US" sz="1200" b="0" u="none" strike="noStrike" kern="1200">
                          <a:solidFill>
                            <a:srgbClr val="1A1918"/>
                          </a:solidFill>
                          <a:effectLst/>
                          <a:latin typeface="微软雅黑" panose="020B0503020204020204" pitchFamily="34" charset="-122"/>
                          <a:ea typeface="微软雅黑" panose="020B0503020204020204" pitchFamily="34" charset="-122"/>
                          <a:cs typeface="+mn-cs"/>
                        </a:rPr>
                        <a:t>（</a:t>
                      </a:r>
                      <a:r>
                        <a:rPr kumimoji="1" lang="en-US" altLang="zh-CN" sz="1200" b="0" u="none" strike="noStrike" kern="1200">
                          <a:solidFill>
                            <a:srgbClr val="1A1918"/>
                          </a:solidFill>
                          <a:effectLst/>
                          <a:latin typeface="微软雅黑" panose="020B0503020204020204" pitchFamily="34" charset="-122"/>
                          <a:ea typeface="微软雅黑" panose="020B0503020204020204" pitchFamily="34" charset="-122"/>
                          <a:cs typeface="+mn-cs"/>
                        </a:rPr>
                        <a:t>34.1</a:t>
                      </a:r>
                      <a:r>
                        <a:rPr kumimoji="1" lang="zh-CN" altLang="en-US" sz="1200" b="0" u="none" strike="noStrike" kern="1200">
                          <a:solidFill>
                            <a:srgbClr val="1A1918"/>
                          </a:solidFill>
                          <a:effectLst/>
                          <a:latin typeface="微软雅黑" panose="020B0503020204020204" pitchFamily="34" charset="-122"/>
                          <a:ea typeface="微软雅黑" panose="020B0503020204020204" pitchFamily="34" charset="-122"/>
                          <a:cs typeface="+mn-cs"/>
                        </a:rPr>
                        <a:t>）</a:t>
                      </a:r>
                      <a:endParaRPr kumimoji="1" lang="en-US" altLang="zh-CN" sz="1200" b="0" u="none" strike="noStrike" kern="1200">
                        <a:solidFill>
                          <a:srgbClr val="1A1918"/>
                        </a:solidFill>
                        <a:effectLst/>
                        <a:latin typeface="微软雅黑" panose="020B0503020204020204" pitchFamily="34" charset="-122"/>
                        <a:ea typeface="微软雅黑" panose="020B0503020204020204" pitchFamily="34" charset="-122"/>
                        <a:cs typeface="+mn-cs"/>
                      </a:endParaRPr>
                    </a:p>
                  </a:txBody>
                  <a:tcPr marL="0" marR="0" marT="0" marB="0" anchor="ctr"/>
                </a:tc>
                <a:extLst>
                  <a:ext uri="{0D108BD9-81ED-4DB2-BD59-A6C34878D82A}">
                    <a16:rowId xmlns:a16="http://schemas.microsoft.com/office/drawing/2014/main" val="3800440298"/>
                  </a:ext>
                </a:extLst>
              </a:tr>
              <a:tr h="392385">
                <a:tc>
                  <a:txBody>
                    <a:bodyPr/>
                    <a:lstStyle/>
                    <a:p>
                      <a:pPr algn="r" fontAlgn="t"/>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注射部位疼痛</a:t>
                      </a:r>
                    </a:p>
                  </a:txBody>
                  <a:tcPr marL="0" marR="0" marT="0" marB="0" anchor="ctr"/>
                </a:tc>
                <a:tc>
                  <a:txBody>
                    <a:bodyPr/>
                    <a:lstStyle/>
                    <a:p>
                      <a:pPr algn="ctr" fontAlgn="t"/>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12</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42.9</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p>
                  </a:txBody>
                  <a:tcPr marL="0" marR="0" marT="0" marB="0" anchor="ctr"/>
                </a:tc>
                <a:tc>
                  <a:txBody>
                    <a:bodyPr/>
                    <a:lstStyle/>
                    <a:p>
                      <a:pPr algn="ctr" fontAlgn="t"/>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9</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31.0</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p>
                  </a:txBody>
                  <a:tcPr marL="0" marR="0" marT="0" marB="0" anchor="ctr"/>
                </a:tc>
                <a:tc>
                  <a:txBody>
                    <a:bodyPr/>
                    <a:lstStyle/>
                    <a:p>
                      <a:pPr algn="ctr" fontAlgn="ct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14</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51.9</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p>
                  </a:txBody>
                  <a:tcPr marL="0" marR="0" marT="0" marB="0" anchor="ctr">
                    <a:solidFill>
                      <a:srgbClr val="FCEAEA"/>
                    </a:solidFill>
                  </a:tcPr>
                </a:tc>
                <a:tc>
                  <a:txBody>
                    <a:bodyPr/>
                    <a:lstStyle/>
                    <a:p>
                      <a:pPr marL="0" algn="ctr" defTabSz="914150" rtl="0" eaLnBrk="1" fontAlgn="ctr" latinLnBrk="0" hangingPunct="1"/>
                      <a:r>
                        <a:rPr kumimoji="1" lang="en-US" altLang="zh-CN" sz="1200" b="0" u="none" strike="noStrike" kern="1200">
                          <a:solidFill>
                            <a:srgbClr val="1A1918"/>
                          </a:solidFill>
                          <a:effectLst/>
                          <a:latin typeface="微软雅黑" panose="020B0503020204020204" pitchFamily="34" charset="-122"/>
                          <a:ea typeface="微软雅黑" panose="020B0503020204020204" pitchFamily="34" charset="-122"/>
                          <a:cs typeface="+mn-cs"/>
                        </a:rPr>
                        <a:t>11</a:t>
                      </a:r>
                      <a:r>
                        <a:rPr kumimoji="1" lang="zh-CN" altLang="en-US" sz="1200" b="0" u="none" strike="noStrike" kern="1200">
                          <a:solidFill>
                            <a:srgbClr val="1A1918"/>
                          </a:solidFill>
                          <a:effectLst/>
                          <a:latin typeface="微软雅黑" panose="020B0503020204020204" pitchFamily="34" charset="-122"/>
                          <a:ea typeface="微软雅黑" panose="020B0503020204020204" pitchFamily="34" charset="-122"/>
                          <a:cs typeface="+mn-cs"/>
                        </a:rPr>
                        <a:t>（</a:t>
                      </a:r>
                      <a:r>
                        <a:rPr kumimoji="1" lang="en-US" altLang="zh-CN" sz="1200" b="0" u="none" strike="noStrike" kern="1200">
                          <a:solidFill>
                            <a:srgbClr val="1A1918"/>
                          </a:solidFill>
                          <a:effectLst/>
                          <a:latin typeface="微软雅黑" panose="020B0503020204020204" pitchFamily="34" charset="-122"/>
                          <a:ea typeface="微软雅黑" panose="020B0503020204020204" pitchFamily="34" charset="-122"/>
                          <a:cs typeface="+mn-cs"/>
                        </a:rPr>
                        <a:t>26.8</a:t>
                      </a:r>
                      <a:r>
                        <a:rPr kumimoji="1" lang="zh-CN" altLang="en-US" sz="1200" b="0" u="none" strike="noStrike" kern="1200">
                          <a:solidFill>
                            <a:srgbClr val="1A1918"/>
                          </a:solidFill>
                          <a:effectLst/>
                          <a:latin typeface="微软雅黑" panose="020B0503020204020204" pitchFamily="34" charset="-122"/>
                          <a:ea typeface="微软雅黑" panose="020B0503020204020204" pitchFamily="34" charset="-122"/>
                          <a:cs typeface="+mn-cs"/>
                        </a:rPr>
                        <a:t>）</a:t>
                      </a:r>
                      <a:endParaRPr kumimoji="1" lang="en-US" altLang="zh-CN" sz="1200" b="0" u="none" strike="noStrike" kern="1200">
                        <a:solidFill>
                          <a:srgbClr val="1A1918"/>
                        </a:solidFill>
                        <a:effectLst/>
                        <a:latin typeface="微软雅黑" panose="020B0503020204020204" pitchFamily="34" charset="-122"/>
                        <a:ea typeface="微软雅黑" panose="020B0503020204020204" pitchFamily="34" charset="-122"/>
                        <a:cs typeface="+mn-cs"/>
                      </a:endParaRPr>
                    </a:p>
                  </a:txBody>
                  <a:tcPr marL="0" marR="0" marT="0" marB="0" anchor="ctr"/>
                </a:tc>
                <a:extLst>
                  <a:ext uri="{0D108BD9-81ED-4DB2-BD59-A6C34878D82A}">
                    <a16:rowId xmlns:a16="http://schemas.microsoft.com/office/drawing/2014/main" val="3894342224"/>
                  </a:ext>
                </a:extLst>
              </a:tr>
              <a:tr h="392385">
                <a:tc>
                  <a:txBody>
                    <a:bodyPr/>
                    <a:lstStyle/>
                    <a:p>
                      <a:pPr algn="r" fontAlgn="b"/>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注射部位红斑</a:t>
                      </a:r>
                    </a:p>
                  </a:txBody>
                  <a:tcPr marL="0" marR="0" marT="0" marB="0" anchor="ctr"/>
                </a:tc>
                <a:tc>
                  <a:txBody>
                    <a:bodyPr/>
                    <a:lstStyle/>
                    <a:p>
                      <a:pPr algn="ctr" fontAlgn="b"/>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4</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14.3</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p>
                  </a:txBody>
                  <a:tcPr marL="0" marR="0" marT="0" marB="0" anchor="ctr"/>
                </a:tc>
                <a:tc>
                  <a:txBody>
                    <a:bodyPr/>
                    <a:lstStyle/>
                    <a:p>
                      <a:pPr algn="ctr" fontAlgn="b"/>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2</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6.9</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p>
                  </a:txBody>
                  <a:tcPr marL="0" marR="0" marT="0" marB="0" anchor="ctr"/>
                </a:tc>
                <a:tc>
                  <a:txBody>
                    <a:bodyPr/>
                    <a:lstStyle/>
                    <a:p>
                      <a:pPr algn="ctr" fontAlgn="ct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2</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7.4</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p>
                  </a:txBody>
                  <a:tcPr marL="0" marR="0" marT="0" marB="0" anchor="ctr">
                    <a:solidFill>
                      <a:srgbClr val="FCEAEA"/>
                    </a:solidFill>
                  </a:tcPr>
                </a:tc>
                <a:tc>
                  <a:txBody>
                    <a:bodyPr/>
                    <a:lstStyle/>
                    <a:p>
                      <a:pPr marL="0" algn="ctr" defTabSz="914150" rtl="0" eaLnBrk="1" fontAlgn="ctr" latinLnBrk="0" hangingPunct="1"/>
                      <a:r>
                        <a:rPr kumimoji="1" lang="en-US" altLang="zh-CN" sz="1200" b="0" u="none" strike="noStrike" kern="1200">
                          <a:solidFill>
                            <a:srgbClr val="1A1918"/>
                          </a:solidFill>
                          <a:effectLst/>
                          <a:latin typeface="微软雅黑" panose="020B0503020204020204" pitchFamily="34" charset="-122"/>
                          <a:ea typeface="微软雅黑" panose="020B0503020204020204" pitchFamily="34" charset="-122"/>
                          <a:cs typeface="+mn-cs"/>
                        </a:rPr>
                        <a:t>1</a:t>
                      </a:r>
                      <a:r>
                        <a:rPr kumimoji="1" lang="zh-CN" altLang="en-US" sz="1200" b="0" u="none" strike="noStrike" kern="1200">
                          <a:solidFill>
                            <a:srgbClr val="1A1918"/>
                          </a:solidFill>
                          <a:effectLst/>
                          <a:latin typeface="微软雅黑" panose="020B0503020204020204" pitchFamily="34" charset="-122"/>
                          <a:ea typeface="微软雅黑" panose="020B0503020204020204" pitchFamily="34" charset="-122"/>
                          <a:cs typeface="+mn-cs"/>
                        </a:rPr>
                        <a:t>（</a:t>
                      </a:r>
                      <a:r>
                        <a:rPr kumimoji="1" lang="en-US" altLang="zh-CN" sz="1200" b="0" u="none" strike="noStrike" kern="1200">
                          <a:solidFill>
                            <a:srgbClr val="1A1918"/>
                          </a:solidFill>
                          <a:effectLst/>
                          <a:latin typeface="微软雅黑" panose="020B0503020204020204" pitchFamily="34" charset="-122"/>
                          <a:ea typeface="微软雅黑" panose="020B0503020204020204" pitchFamily="34" charset="-122"/>
                          <a:cs typeface="+mn-cs"/>
                        </a:rPr>
                        <a:t>2.4</a:t>
                      </a:r>
                      <a:r>
                        <a:rPr kumimoji="1" lang="zh-CN" altLang="en-US" sz="1200" b="0" u="none" strike="noStrike" kern="1200">
                          <a:solidFill>
                            <a:srgbClr val="1A1918"/>
                          </a:solidFill>
                          <a:effectLst/>
                          <a:latin typeface="微软雅黑" panose="020B0503020204020204" pitchFamily="34" charset="-122"/>
                          <a:ea typeface="微软雅黑" panose="020B0503020204020204" pitchFamily="34" charset="-122"/>
                          <a:cs typeface="+mn-cs"/>
                        </a:rPr>
                        <a:t>）</a:t>
                      </a:r>
                      <a:endParaRPr kumimoji="1" lang="en-US" altLang="zh-CN" sz="1200" b="0" u="none" strike="noStrike" kern="1200">
                        <a:solidFill>
                          <a:srgbClr val="1A1918"/>
                        </a:solidFill>
                        <a:effectLst/>
                        <a:latin typeface="微软雅黑" panose="020B0503020204020204" pitchFamily="34" charset="-122"/>
                        <a:ea typeface="微软雅黑" panose="020B0503020204020204" pitchFamily="34" charset="-122"/>
                        <a:cs typeface="+mn-cs"/>
                      </a:endParaRPr>
                    </a:p>
                  </a:txBody>
                  <a:tcPr marL="0" marR="0" marT="0" marB="0" anchor="ctr"/>
                </a:tc>
                <a:extLst>
                  <a:ext uri="{0D108BD9-81ED-4DB2-BD59-A6C34878D82A}">
                    <a16:rowId xmlns:a16="http://schemas.microsoft.com/office/drawing/2014/main" val="2700130556"/>
                  </a:ext>
                </a:extLst>
              </a:tr>
              <a:tr h="392385">
                <a:tc>
                  <a:txBody>
                    <a:bodyPr/>
                    <a:lstStyle/>
                    <a:p>
                      <a:pPr algn="r" fontAlgn="b"/>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注射部位瘀伤</a:t>
                      </a:r>
                    </a:p>
                  </a:txBody>
                  <a:tcPr marL="0" marR="0" marT="0" marB="0" anchor="ctr">
                    <a:lnB w="12700" cap="flat" cmpd="sng" algn="ctr">
                      <a:solidFill>
                        <a:schemeClr val="accent2"/>
                      </a:solidFill>
                      <a:prstDash val="solid"/>
                      <a:round/>
                      <a:headEnd type="none" w="med" len="med"/>
                      <a:tailEnd type="none" w="med" len="med"/>
                    </a:lnB>
                  </a:tcPr>
                </a:tc>
                <a:tc>
                  <a:txBody>
                    <a:bodyPr/>
                    <a:lstStyle/>
                    <a:p>
                      <a:pPr algn="ctr" fontAlgn="b"/>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2</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7.1</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p>
                  </a:txBody>
                  <a:tcPr marL="0" marR="0" marT="0" marB="0" anchor="ctr">
                    <a:lnB w="12700" cap="flat" cmpd="sng" algn="ctr">
                      <a:solidFill>
                        <a:schemeClr val="accent2"/>
                      </a:solidFill>
                      <a:prstDash val="solid"/>
                      <a:round/>
                      <a:headEnd type="none" w="med" len="med"/>
                      <a:tailEnd type="none" w="med" len="med"/>
                    </a:lnB>
                  </a:tcPr>
                </a:tc>
                <a:tc>
                  <a:txBody>
                    <a:bodyPr/>
                    <a:lstStyle/>
                    <a:p>
                      <a:pPr algn="ctr" fontAlgn="b"/>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2</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6.9</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p>
                  </a:txBody>
                  <a:tcPr marL="0" marR="0" marT="0" marB="0" anchor="ctr">
                    <a:lnB w="12700" cap="flat" cmpd="sng" algn="ctr">
                      <a:solidFill>
                        <a:schemeClr val="accent2"/>
                      </a:solidFill>
                      <a:prstDash val="solid"/>
                      <a:round/>
                      <a:headEnd type="none" w="med" len="med"/>
                      <a:tailEnd type="none" w="med" len="med"/>
                    </a:lnB>
                  </a:tcPr>
                </a:tc>
                <a:tc>
                  <a:txBody>
                    <a:bodyPr/>
                    <a:lstStyle/>
                    <a:p>
                      <a:pPr algn="ctr" fontAlgn="ct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1</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3.7</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p>
                  </a:txBody>
                  <a:tcPr marL="0" marR="0" marT="0" marB="0" anchor="ctr">
                    <a:lnB w="12700" cap="flat" cmpd="sng" algn="ctr">
                      <a:solidFill>
                        <a:schemeClr val="accent2"/>
                      </a:solidFill>
                      <a:prstDash val="solid"/>
                      <a:round/>
                      <a:headEnd type="none" w="med" len="med"/>
                      <a:tailEnd type="none" w="med" len="med"/>
                    </a:lnB>
                    <a:solidFill>
                      <a:srgbClr val="FCEAEA"/>
                    </a:solidFill>
                  </a:tcPr>
                </a:tc>
                <a:tc>
                  <a:txBody>
                    <a:bodyPr/>
                    <a:lstStyle/>
                    <a:p>
                      <a:pPr marL="0" algn="ctr" defTabSz="914150" rtl="0" eaLnBrk="1" fontAlgn="ctr" latinLnBrk="0" hangingPunct="1"/>
                      <a:r>
                        <a:rPr kumimoji="1" lang="en-US" altLang="zh-CN" sz="1200" b="0" u="none" strike="noStrike" kern="1200">
                          <a:solidFill>
                            <a:srgbClr val="1A1918"/>
                          </a:solidFill>
                          <a:effectLst/>
                          <a:latin typeface="微软雅黑" panose="020B0503020204020204" pitchFamily="34" charset="-122"/>
                          <a:ea typeface="微软雅黑" panose="020B0503020204020204" pitchFamily="34" charset="-122"/>
                          <a:cs typeface="+mn-cs"/>
                        </a:rPr>
                        <a:t>0</a:t>
                      </a:r>
                    </a:p>
                  </a:txBody>
                  <a:tcPr marL="0" marR="0" marT="0" marB="0" anchor="ctr">
                    <a:lnB w="12700" cap="flat" cmpd="sng" algn="ctr">
                      <a:solidFill>
                        <a:schemeClr val="accent2"/>
                      </a:solidFill>
                      <a:prstDash val="solid"/>
                      <a:round/>
                      <a:headEnd type="none" w="med" len="med"/>
                      <a:tailEnd type="none" w="med" len="med"/>
                    </a:lnB>
                  </a:tcPr>
                </a:tc>
                <a:extLst>
                  <a:ext uri="{0D108BD9-81ED-4DB2-BD59-A6C34878D82A}">
                    <a16:rowId xmlns:a16="http://schemas.microsoft.com/office/drawing/2014/main" val="762001629"/>
                  </a:ext>
                </a:extLst>
              </a:tr>
              <a:tr h="392385">
                <a:tc>
                  <a:txBody>
                    <a:bodyPr/>
                    <a:lstStyle/>
                    <a:p>
                      <a:pPr algn="ctr" fontAlgn="b"/>
                      <a:r>
                        <a:rPr lang="zh-CN" altLang="en-US" sz="1200" b="1" i="0" u="none" strike="noStrike">
                          <a:solidFill>
                            <a:srgbClr val="1A1918"/>
                          </a:solidFill>
                          <a:effectLst/>
                          <a:latin typeface="微软雅黑" panose="020B0503020204020204" pitchFamily="34" charset="-122"/>
                          <a:ea typeface="微软雅黑" panose="020B0503020204020204" pitchFamily="34" charset="-122"/>
                        </a:rPr>
                        <a:t>严重</a:t>
                      </a:r>
                      <a:r>
                        <a:rPr lang="en-US" altLang="zh-CN" sz="1200" b="1" i="0" u="none" strike="noStrike">
                          <a:solidFill>
                            <a:srgbClr val="1A1918"/>
                          </a:solidFill>
                          <a:effectLst/>
                          <a:latin typeface="微软雅黑" panose="020B0503020204020204" pitchFamily="34" charset="-122"/>
                          <a:ea typeface="微软雅黑" panose="020B0503020204020204" pitchFamily="34" charset="-122"/>
                        </a:rPr>
                        <a:t>AE*</a:t>
                      </a:r>
                      <a:endParaRPr lang="zh-CN" altLang="en-US" sz="1200" b="1" i="0" u="none" strike="noStrike">
                        <a:solidFill>
                          <a:srgbClr val="1A1918"/>
                        </a:solidFill>
                        <a:effectLst/>
                        <a:latin typeface="微软雅黑" panose="020B0503020204020204" pitchFamily="34" charset="-122"/>
                        <a:ea typeface="微软雅黑" panose="020B0503020204020204" pitchFamily="34" charset="-122"/>
                      </a:endParaRP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b"/>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0</a:t>
                      </a:r>
                      <a:endParaRPr lang="zh-CN" altLang="en-US" sz="1200" b="0" i="0" u="none" strike="noStrike">
                        <a:solidFill>
                          <a:srgbClr val="1A1918"/>
                        </a:solidFill>
                        <a:effectLst/>
                        <a:latin typeface="微软雅黑" panose="020B0503020204020204" pitchFamily="34" charset="-122"/>
                        <a:ea typeface="微软雅黑" panose="020B0503020204020204" pitchFamily="34" charset="-122"/>
                      </a:endParaRP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b"/>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3</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10.3</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ct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1</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3.7</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FCEAEA"/>
                    </a:solidFill>
                  </a:tcPr>
                </a:tc>
                <a:tc>
                  <a:txBody>
                    <a:bodyPr/>
                    <a:lstStyle/>
                    <a:p>
                      <a:pPr marL="0" algn="ctr" defTabSz="914150" rtl="0" eaLnBrk="1" fontAlgn="ctr" latinLnBrk="0" hangingPunct="1"/>
                      <a:r>
                        <a:rPr kumimoji="1" lang="en-US" altLang="zh-CN" sz="1200" b="0" u="none" strike="noStrike" kern="1200">
                          <a:solidFill>
                            <a:srgbClr val="1A1918"/>
                          </a:solidFill>
                          <a:effectLst/>
                          <a:latin typeface="微软雅黑" panose="020B0503020204020204" pitchFamily="34" charset="-122"/>
                          <a:ea typeface="微软雅黑" panose="020B0503020204020204" pitchFamily="34" charset="-122"/>
                          <a:cs typeface="+mn-cs"/>
                        </a:rPr>
                        <a:t>0</a:t>
                      </a: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4072690333"/>
                  </a:ext>
                </a:extLst>
              </a:tr>
              <a:tr h="392385">
                <a:tc>
                  <a:txBody>
                    <a:bodyPr/>
                    <a:lstStyle/>
                    <a:p>
                      <a:pPr algn="ctr" fontAlgn="b"/>
                      <a:r>
                        <a:rPr lang="zh-CN" altLang="en-US" sz="1200" b="1" i="0" u="none" strike="noStrike">
                          <a:solidFill>
                            <a:srgbClr val="1A1918"/>
                          </a:solidFill>
                          <a:effectLst/>
                          <a:latin typeface="微软雅黑" panose="020B0503020204020204" pitchFamily="34" charset="-122"/>
                          <a:ea typeface="微软雅黑" panose="020B0503020204020204" pitchFamily="34" charset="-122"/>
                        </a:rPr>
                        <a:t>治疗相关严重</a:t>
                      </a:r>
                      <a:r>
                        <a:rPr lang="en-US" altLang="zh-CN" sz="1200" b="1" i="0" u="none" strike="noStrike">
                          <a:solidFill>
                            <a:srgbClr val="1A1918"/>
                          </a:solidFill>
                          <a:effectLst/>
                          <a:latin typeface="微软雅黑" panose="020B0503020204020204" pitchFamily="34" charset="-122"/>
                          <a:ea typeface="微软雅黑" panose="020B0503020204020204" pitchFamily="34" charset="-122"/>
                        </a:rPr>
                        <a:t>AE</a:t>
                      </a:r>
                      <a:endParaRPr lang="zh-CN" altLang="en-US" sz="1200" b="1" i="0" u="none" strike="noStrike">
                        <a:solidFill>
                          <a:srgbClr val="1A1918"/>
                        </a:solidFill>
                        <a:effectLst/>
                        <a:latin typeface="微软雅黑" panose="020B0503020204020204" pitchFamily="34" charset="-122"/>
                        <a:ea typeface="微软雅黑" panose="020B0503020204020204" pitchFamily="34" charset="-122"/>
                      </a:endParaRP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b"/>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0</a:t>
                      </a:r>
                      <a:endParaRPr lang="zh-CN" altLang="en-US" sz="1200" b="0" i="0" u="none" strike="noStrike">
                        <a:solidFill>
                          <a:srgbClr val="1A1918"/>
                        </a:solidFill>
                        <a:effectLst/>
                        <a:latin typeface="微软雅黑" panose="020B0503020204020204" pitchFamily="34" charset="-122"/>
                        <a:ea typeface="微软雅黑" panose="020B0503020204020204" pitchFamily="34" charset="-122"/>
                      </a:endParaRP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ctr" defTabSz="914150" rtl="0" eaLnBrk="1" fontAlgn="b" latinLnBrk="0" hangingPunct="1">
                        <a:lnSpc>
                          <a:spcPct val="100000"/>
                        </a:lnSpc>
                        <a:spcBef>
                          <a:spcPts val="0"/>
                        </a:spcBef>
                        <a:spcAft>
                          <a:spcPts val="0"/>
                        </a:spcAft>
                        <a:buClrTx/>
                        <a:buSzTx/>
                        <a:buFontTx/>
                        <a:buNone/>
                        <a:tabLst/>
                        <a:defRPr/>
                      </a:pPr>
                      <a:r>
                        <a:rPr kumimoji="1" lang="en-US" altLang="zh-CN" sz="1200" b="0" i="0" u="none" strike="noStrike" kern="1200" cap="none" spc="0" normalizeH="0" baseline="0" noProof="0">
                          <a:ln>
                            <a:noFill/>
                          </a:ln>
                          <a:solidFill>
                            <a:srgbClr val="1A1918"/>
                          </a:solidFill>
                          <a:effectLst/>
                          <a:uLnTx/>
                          <a:uFillTx/>
                          <a:latin typeface="微软雅黑" panose="020B0503020204020204" pitchFamily="34" charset="-122"/>
                          <a:ea typeface="微软雅黑" panose="020B0503020204020204" pitchFamily="34" charset="-122"/>
                          <a:cs typeface="+mn-cs"/>
                        </a:rPr>
                        <a:t>0</a:t>
                      </a:r>
                      <a:endParaRPr kumimoji="1" lang="zh-CN" altLang="en-US" sz="1200" b="0" i="0" u="none" strike="noStrike" kern="1200" cap="none" spc="0" normalizeH="0" baseline="0" noProof="0">
                        <a:ln>
                          <a:noFill/>
                        </a:ln>
                        <a:solidFill>
                          <a:srgbClr val="1A1918"/>
                        </a:solidFill>
                        <a:effectLst/>
                        <a:uLnTx/>
                        <a:uFillTx/>
                        <a:latin typeface="微软雅黑" panose="020B0503020204020204" pitchFamily="34" charset="-122"/>
                        <a:ea typeface="微软雅黑" panose="020B0503020204020204" pitchFamily="34" charset="-122"/>
                        <a:cs typeface="+mn-cs"/>
                      </a:endParaRP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ctr" defTabSz="914150" rtl="0" eaLnBrk="1" fontAlgn="b" latinLnBrk="0" hangingPunct="1">
                        <a:lnSpc>
                          <a:spcPct val="100000"/>
                        </a:lnSpc>
                        <a:spcBef>
                          <a:spcPts val="0"/>
                        </a:spcBef>
                        <a:spcAft>
                          <a:spcPts val="0"/>
                        </a:spcAft>
                        <a:buClrTx/>
                        <a:buSzTx/>
                        <a:buFontTx/>
                        <a:buNone/>
                        <a:tabLst/>
                        <a:defRPr/>
                      </a:pPr>
                      <a:r>
                        <a:rPr kumimoji="1" lang="en-US" altLang="zh-CN" sz="1200" b="0" i="0" u="none" strike="noStrike" kern="1200" cap="none" spc="0" normalizeH="0" baseline="0" noProof="0">
                          <a:ln>
                            <a:noFill/>
                          </a:ln>
                          <a:solidFill>
                            <a:srgbClr val="1A1918"/>
                          </a:solidFill>
                          <a:effectLst/>
                          <a:uLnTx/>
                          <a:uFillTx/>
                          <a:latin typeface="微软雅黑" panose="020B0503020204020204" pitchFamily="34" charset="-122"/>
                          <a:ea typeface="微软雅黑" panose="020B0503020204020204" pitchFamily="34" charset="-122"/>
                          <a:cs typeface="+mn-cs"/>
                        </a:rPr>
                        <a:t>0</a:t>
                      </a:r>
                      <a:endParaRPr kumimoji="1" lang="zh-CN" altLang="en-US" sz="1200" b="0" i="0" u="none" strike="noStrike" kern="1200" cap="none" spc="0" normalizeH="0" baseline="0" noProof="0">
                        <a:ln>
                          <a:noFill/>
                        </a:ln>
                        <a:solidFill>
                          <a:srgbClr val="1A1918"/>
                        </a:solidFill>
                        <a:effectLst/>
                        <a:uLnTx/>
                        <a:uFillTx/>
                        <a:latin typeface="微软雅黑" panose="020B0503020204020204" pitchFamily="34" charset="-122"/>
                        <a:ea typeface="微软雅黑" panose="020B0503020204020204" pitchFamily="34" charset="-122"/>
                        <a:cs typeface="+mn-cs"/>
                      </a:endParaRP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FCEAEA"/>
                    </a:solidFill>
                  </a:tcPr>
                </a:tc>
                <a:tc>
                  <a:txBody>
                    <a:bodyPr/>
                    <a:lstStyle/>
                    <a:p>
                      <a:pPr marL="0" marR="0" lvl="0" indent="0" algn="ctr" defTabSz="914150" rtl="0" eaLnBrk="1" fontAlgn="b" latinLnBrk="0" hangingPunct="1">
                        <a:lnSpc>
                          <a:spcPct val="100000"/>
                        </a:lnSpc>
                        <a:spcBef>
                          <a:spcPts val="0"/>
                        </a:spcBef>
                        <a:spcAft>
                          <a:spcPts val="0"/>
                        </a:spcAft>
                        <a:buClrTx/>
                        <a:buSzTx/>
                        <a:buFontTx/>
                        <a:buNone/>
                        <a:tabLst/>
                        <a:defRPr/>
                      </a:pPr>
                      <a:r>
                        <a:rPr kumimoji="1" lang="en-US" altLang="zh-CN" sz="1200" b="0" i="0" u="none" strike="noStrike" kern="1200" cap="none" spc="0" normalizeH="0" baseline="0" noProof="0">
                          <a:ln>
                            <a:noFill/>
                          </a:ln>
                          <a:solidFill>
                            <a:srgbClr val="1A1918"/>
                          </a:solidFill>
                          <a:effectLst/>
                          <a:uLnTx/>
                          <a:uFillTx/>
                          <a:latin typeface="微软雅黑" panose="020B0503020204020204" pitchFamily="34" charset="-122"/>
                          <a:ea typeface="微软雅黑" panose="020B0503020204020204" pitchFamily="34" charset="-122"/>
                          <a:cs typeface="+mn-cs"/>
                        </a:rPr>
                        <a:t>0</a:t>
                      </a:r>
                      <a:endParaRPr kumimoji="1" lang="zh-CN" altLang="en-US" sz="1200" b="0" i="0" u="none" strike="noStrike" kern="1200" cap="none" spc="0" normalizeH="0" baseline="0" noProof="0">
                        <a:ln>
                          <a:noFill/>
                        </a:ln>
                        <a:solidFill>
                          <a:srgbClr val="1A1918"/>
                        </a:solidFill>
                        <a:effectLst/>
                        <a:uLnTx/>
                        <a:uFillTx/>
                        <a:latin typeface="微软雅黑" panose="020B0503020204020204" pitchFamily="34" charset="-122"/>
                        <a:ea typeface="微软雅黑" panose="020B0503020204020204" pitchFamily="34" charset="-122"/>
                        <a:cs typeface="+mn-cs"/>
                      </a:endParaRP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3751790569"/>
                  </a:ext>
                </a:extLst>
              </a:tr>
              <a:tr h="392385">
                <a:tc>
                  <a:txBody>
                    <a:bodyPr/>
                    <a:lstStyle/>
                    <a:p>
                      <a:pPr algn="ctr" fontAlgn="b"/>
                      <a:r>
                        <a:rPr lang="zh-CN" altLang="en-US" sz="1200" b="1" i="0" u="none" strike="noStrike">
                          <a:solidFill>
                            <a:srgbClr val="1A1918"/>
                          </a:solidFill>
                          <a:effectLst/>
                          <a:latin typeface="微软雅黑" panose="020B0503020204020204" pitchFamily="34" charset="-122"/>
                          <a:ea typeface="微软雅黑" panose="020B0503020204020204" pitchFamily="34" charset="-122"/>
                        </a:rPr>
                        <a:t>因</a:t>
                      </a:r>
                      <a:r>
                        <a:rPr lang="en-US" altLang="zh-CN" sz="1200" b="1" i="0" u="none" strike="noStrike">
                          <a:solidFill>
                            <a:srgbClr val="1A1918"/>
                          </a:solidFill>
                          <a:effectLst/>
                          <a:latin typeface="微软雅黑" panose="020B0503020204020204" pitchFamily="34" charset="-122"/>
                          <a:ea typeface="微软雅黑" panose="020B0503020204020204" pitchFamily="34" charset="-122"/>
                        </a:rPr>
                        <a:t>AE</a:t>
                      </a:r>
                      <a:r>
                        <a:rPr lang="zh-CN" altLang="en-US" sz="1200" b="1" i="0" u="none" strike="noStrike">
                          <a:solidFill>
                            <a:srgbClr val="1A1918"/>
                          </a:solidFill>
                          <a:effectLst/>
                          <a:latin typeface="微软雅黑" panose="020B0503020204020204" pitchFamily="34" charset="-122"/>
                          <a:ea typeface="微软雅黑" panose="020B0503020204020204" pitchFamily="34" charset="-122"/>
                        </a:rPr>
                        <a:t>导致的停药</a:t>
                      </a: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algn="ctr" fontAlgn="b"/>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0</a:t>
                      </a:r>
                      <a:endParaRPr lang="zh-CN" altLang="en-US" sz="1200" b="0" i="0" u="none" strike="noStrike">
                        <a:solidFill>
                          <a:srgbClr val="1A1918"/>
                        </a:solidFill>
                        <a:effectLst/>
                        <a:latin typeface="微软雅黑" panose="020B0503020204020204" pitchFamily="34" charset="-122"/>
                        <a:ea typeface="微软雅黑" panose="020B0503020204020204" pitchFamily="34" charset="-122"/>
                      </a:endParaRP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ctr" defTabSz="914150" rtl="0" eaLnBrk="1" fontAlgn="b" latinLnBrk="0" hangingPunct="1">
                        <a:lnSpc>
                          <a:spcPct val="100000"/>
                        </a:lnSpc>
                        <a:spcBef>
                          <a:spcPts val="0"/>
                        </a:spcBef>
                        <a:spcAft>
                          <a:spcPts val="0"/>
                        </a:spcAft>
                        <a:buClrTx/>
                        <a:buSzTx/>
                        <a:buFontTx/>
                        <a:buNone/>
                        <a:tabLst/>
                        <a:defRPr/>
                      </a:pP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1</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r>
                        <a:rPr lang="en-US" altLang="zh-CN" sz="1200" b="0" i="0" u="none" strike="noStrike">
                          <a:solidFill>
                            <a:srgbClr val="1A1918"/>
                          </a:solidFill>
                          <a:effectLst/>
                          <a:latin typeface="微软雅黑" panose="020B0503020204020204" pitchFamily="34" charset="-122"/>
                          <a:ea typeface="微软雅黑" panose="020B0503020204020204" pitchFamily="34" charset="-122"/>
                        </a:rPr>
                        <a:t>3.4</a:t>
                      </a:r>
                      <a:r>
                        <a:rPr lang="zh-CN" altLang="en-US" sz="1200" b="0" i="0" u="none" strike="noStrike">
                          <a:solidFill>
                            <a:srgbClr val="1A1918"/>
                          </a:solidFill>
                          <a:effectLst/>
                          <a:latin typeface="微软雅黑" panose="020B0503020204020204" pitchFamily="34" charset="-122"/>
                          <a:ea typeface="微软雅黑" panose="020B0503020204020204" pitchFamily="34" charset="-122"/>
                        </a:rPr>
                        <a:t>）</a:t>
                      </a: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tc>
                  <a:txBody>
                    <a:bodyPr/>
                    <a:lstStyle/>
                    <a:p>
                      <a:pPr marL="0" marR="0" lvl="0" indent="0" algn="ctr" defTabSz="914150" rtl="0" eaLnBrk="1" fontAlgn="b" latinLnBrk="0" hangingPunct="1">
                        <a:lnSpc>
                          <a:spcPct val="100000"/>
                        </a:lnSpc>
                        <a:spcBef>
                          <a:spcPts val="0"/>
                        </a:spcBef>
                        <a:spcAft>
                          <a:spcPts val="0"/>
                        </a:spcAft>
                        <a:buClrTx/>
                        <a:buSzTx/>
                        <a:buFontTx/>
                        <a:buNone/>
                        <a:tabLst/>
                        <a:defRPr/>
                      </a:pPr>
                      <a:r>
                        <a:rPr kumimoji="1" lang="en-US" altLang="zh-CN" sz="1200" b="0" i="0" u="none" strike="noStrike" kern="1200" cap="none" spc="0" normalizeH="0" baseline="0" noProof="0">
                          <a:ln>
                            <a:noFill/>
                          </a:ln>
                          <a:solidFill>
                            <a:srgbClr val="1A1918"/>
                          </a:solidFill>
                          <a:effectLst/>
                          <a:uLnTx/>
                          <a:uFillTx/>
                          <a:latin typeface="微软雅黑" panose="020B0503020204020204" pitchFamily="34" charset="-122"/>
                          <a:ea typeface="微软雅黑" panose="020B0503020204020204" pitchFamily="34" charset="-122"/>
                          <a:cs typeface="+mn-cs"/>
                        </a:rPr>
                        <a:t>0</a:t>
                      </a:r>
                      <a:endParaRPr kumimoji="1" lang="zh-CN" altLang="en-US" sz="1200" b="0" i="0" u="none" strike="noStrike" kern="1200" cap="none" spc="0" normalizeH="0" baseline="0" noProof="0">
                        <a:ln>
                          <a:noFill/>
                        </a:ln>
                        <a:solidFill>
                          <a:srgbClr val="1A1918"/>
                        </a:solidFill>
                        <a:effectLst/>
                        <a:uLnTx/>
                        <a:uFillTx/>
                        <a:latin typeface="微软雅黑" panose="020B0503020204020204" pitchFamily="34" charset="-122"/>
                        <a:ea typeface="微软雅黑" panose="020B0503020204020204" pitchFamily="34" charset="-122"/>
                        <a:cs typeface="+mn-cs"/>
                      </a:endParaRP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rgbClr val="FCEAEA"/>
                    </a:solidFill>
                  </a:tcPr>
                </a:tc>
                <a:tc>
                  <a:txBody>
                    <a:bodyPr/>
                    <a:lstStyle/>
                    <a:p>
                      <a:pPr marL="0" marR="0" lvl="0" indent="0" algn="ctr" defTabSz="914150" rtl="0" eaLnBrk="1" fontAlgn="b" latinLnBrk="0" hangingPunct="1">
                        <a:lnSpc>
                          <a:spcPct val="100000"/>
                        </a:lnSpc>
                        <a:spcBef>
                          <a:spcPts val="0"/>
                        </a:spcBef>
                        <a:spcAft>
                          <a:spcPts val="0"/>
                        </a:spcAft>
                        <a:buClrTx/>
                        <a:buSzTx/>
                        <a:buFontTx/>
                        <a:buNone/>
                        <a:tabLst/>
                        <a:defRPr/>
                      </a:pPr>
                      <a:r>
                        <a:rPr kumimoji="1" lang="en-US" altLang="zh-CN" sz="1200" b="0" i="0" u="none" strike="noStrike" kern="1200" cap="none" spc="0" normalizeH="0" baseline="0" noProof="0" dirty="0">
                          <a:ln>
                            <a:noFill/>
                          </a:ln>
                          <a:solidFill>
                            <a:srgbClr val="1A1918"/>
                          </a:solidFill>
                          <a:effectLst/>
                          <a:uLnTx/>
                          <a:uFillTx/>
                          <a:latin typeface="微软雅黑" panose="020B0503020204020204" pitchFamily="34" charset="-122"/>
                          <a:ea typeface="微软雅黑" panose="020B0503020204020204" pitchFamily="34" charset="-122"/>
                          <a:cs typeface="+mn-cs"/>
                        </a:rPr>
                        <a:t>1</a:t>
                      </a:r>
                      <a:r>
                        <a:rPr kumimoji="1" lang="zh-CN" altLang="en-US" sz="1200" b="0" i="0" u="none" strike="noStrike" kern="1200" cap="none" spc="0" normalizeH="0" baseline="0" noProof="0" dirty="0">
                          <a:ln>
                            <a:noFill/>
                          </a:ln>
                          <a:solidFill>
                            <a:srgbClr val="1A1918"/>
                          </a:solidFill>
                          <a:effectLst/>
                          <a:uLnTx/>
                          <a:uFillTx/>
                          <a:latin typeface="微软雅黑" panose="020B0503020204020204" pitchFamily="34" charset="-122"/>
                          <a:ea typeface="微软雅黑" panose="020B0503020204020204" pitchFamily="34" charset="-122"/>
                          <a:cs typeface="+mn-cs"/>
                        </a:rPr>
                        <a:t>（</a:t>
                      </a:r>
                      <a:r>
                        <a:rPr kumimoji="1" lang="en-US" altLang="zh-CN" sz="1200" b="0" i="0" u="none" strike="noStrike" kern="1200" cap="none" spc="0" normalizeH="0" baseline="0" noProof="0" dirty="0">
                          <a:ln>
                            <a:noFill/>
                          </a:ln>
                          <a:solidFill>
                            <a:srgbClr val="1A1918"/>
                          </a:solidFill>
                          <a:effectLst/>
                          <a:uLnTx/>
                          <a:uFillTx/>
                          <a:latin typeface="微软雅黑" panose="020B0503020204020204" pitchFamily="34" charset="-122"/>
                          <a:ea typeface="微软雅黑" panose="020B0503020204020204" pitchFamily="34" charset="-122"/>
                          <a:cs typeface="+mn-cs"/>
                        </a:rPr>
                        <a:t>2.4</a:t>
                      </a:r>
                      <a:r>
                        <a:rPr kumimoji="1" lang="zh-CN" altLang="en-US" sz="1200" b="0" i="0" u="none" strike="noStrike" kern="1200" cap="none" spc="0" normalizeH="0" baseline="0" noProof="0" dirty="0">
                          <a:ln>
                            <a:noFill/>
                          </a:ln>
                          <a:solidFill>
                            <a:srgbClr val="1A1918"/>
                          </a:solidFill>
                          <a:effectLst/>
                          <a:uLnTx/>
                          <a:uFillTx/>
                          <a:latin typeface="微软雅黑" panose="020B0503020204020204" pitchFamily="34" charset="-122"/>
                          <a:ea typeface="微软雅黑" panose="020B0503020204020204" pitchFamily="34" charset="-122"/>
                          <a:cs typeface="+mn-cs"/>
                        </a:rPr>
                        <a:t>）</a:t>
                      </a:r>
                    </a:p>
                  </a:txBody>
                  <a:tcPr marL="0" marR="0" marT="0" marB="0" anchor="ct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noFill/>
                  </a:tcPr>
                </a:tc>
                <a:extLst>
                  <a:ext uri="{0D108BD9-81ED-4DB2-BD59-A6C34878D82A}">
                    <a16:rowId xmlns:a16="http://schemas.microsoft.com/office/drawing/2014/main" val="2673031196"/>
                  </a:ext>
                </a:extLst>
              </a:tr>
            </a:tbl>
          </a:graphicData>
        </a:graphic>
      </p:graphicFrame>
      <p:grpSp>
        <p:nvGrpSpPr>
          <p:cNvPr id="17" name="组合 16">
            <a:extLst>
              <a:ext uri="{FF2B5EF4-FFF2-40B4-BE49-F238E27FC236}">
                <a16:creationId xmlns:a16="http://schemas.microsoft.com/office/drawing/2014/main" id="{E0ACE03E-0FFE-4559-8F7B-31CB53BB7232}"/>
              </a:ext>
            </a:extLst>
          </p:cNvPr>
          <p:cNvGrpSpPr/>
          <p:nvPr/>
        </p:nvGrpSpPr>
        <p:grpSpPr>
          <a:xfrm>
            <a:off x="1634384" y="2165526"/>
            <a:ext cx="7874941" cy="681162"/>
            <a:chOff x="971583" y="1169751"/>
            <a:chExt cx="2853001" cy="681162"/>
          </a:xfrm>
        </p:grpSpPr>
        <p:sp>
          <p:nvSpPr>
            <p:cNvPr id="19" name="矩形 18">
              <a:extLst>
                <a:ext uri="{FF2B5EF4-FFF2-40B4-BE49-F238E27FC236}">
                  <a16:creationId xmlns:a16="http://schemas.microsoft.com/office/drawing/2014/main" id="{53CE11D5-5FAF-4246-99CC-DF788BF7283B}"/>
                </a:ext>
              </a:extLst>
            </p:cNvPr>
            <p:cNvSpPr/>
            <p:nvPr/>
          </p:nvSpPr>
          <p:spPr>
            <a:xfrm>
              <a:off x="990286" y="1169751"/>
              <a:ext cx="2834298" cy="681162"/>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400" b="1">
                  <a:solidFill>
                    <a:srgbClr val="1A1918"/>
                  </a:solidFill>
                  <a:latin typeface="微软雅黑" panose="020B0503020204020204" pitchFamily="34" charset="-122"/>
                  <a:ea typeface="微软雅黑" panose="020B0503020204020204" pitchFamily="34" charset="-122"/>
                </a:rPr>
                <a:t>HELP</a:t>
              </a:r>
              <a:r>
                <a:rPr kumimoji="1" lang="zh-CN" altLang="en-US" sz="1400" b="1">
                  <a:solidFill>
                    <a:srgbClr val="1A1918"/>
                  </a:solidFill>
                  <a:latin typeface="微软雅黑" panose="020B0503020204020204" pitchFamily="34" charset="-122"/>
                  <a:ea typeface="微软雅黑" panose="020B0503020204020204" pitchFamily="34" charset="-122"/>
                </a:rPr>
                <a:t>研究中拉那利尤单抗治疗常见不良反应（</a:t>
              </a:r>
              <a:r>
                <a:rPr kumimoji="1" lang="en-US" altLang="zh-CN" sz="1400" b="1">
                  <a:solidFill>
                    <a:srgbClr val="1A1918"/>
                  </a:solidFill>
                  <a:latin typeface="微软雅黑" panose="020B0503020204020204" pitchFamily="34" charset="-122"/>
                  <a:ea typeface="微软雅黑" panose="020B0503020204020204" pitchFamily="34" charset="-122"/>
                </a:rPr>
                <a:t>AE</a:t>
              </a:r>
              <a:r>
                <a:rPr kumimoji="1" lang="zh-CN" altLang="en-US" sz="1400" b="1">
                  <a:solidFill>
                    <a:srgbClr val="1A1918"/>
                  </a:solidFill>
                  <a:latin typeface="微软雅黑" panose="020B0503020204020204" pitchFamily="34" charset="-122"/>
                  <a:ea typeface="微软雅黑" panose="020B0503020204020204" pitchFamily="34" charset="-122"/>
                </a:rPr>
                <a:t>）</a:t>
              </a:r>
              <a:r>
                <a:rPr kumimoji="1" lang="en-US" altLang="zh-CN" sz="1400" baseline="30000">
                  <a:solidFill>
                    <a:srgbClr val="1A1918"/>
                  </a:solidFill>
                  <a:latin typeface="微软雅黑" panose="020B0503020204020204" pitchFamily="34" charset="-122"/>
                  <a:ea typeface="微软雅黑" panose="020B0503020204020204" pitchFamily="34" charset="-122"/>
                </a:rPr>
                <a:t>2</a:t>
              </a:r>
              <a:endParaRPr kumimoji="1" lang="zh-CN" altLang="en-US" sz="1400" baseline="30000">
                <a:solidFill>
                  <a:srgbClr val="1A1918"/>
                </a:solidFill>
                <a:latin typeface="微软雅黑" panose="020B0503020204020204" pitchFamily="34" charset="-122"/>
                <a:ea typeface="微软雅黑" panose="020B0503020204020204" pitchFamily="34" charset="-122"/>
              </a:endParaRPr>
            </a:p>
          </p:txBody>
        </p:sp>
        <p:cxnSp>
          <p:nvCxnSpPr>
            <p:cNvPr id="20" name="直接连接符 19">
              <a:extLst>
                <a:ext uri="{FF2B5EF4-FFF2-40B4-BE49-F238E27FC236}">
                  <a16:creationId xmlns:a16="http://schemas.microsoft.com/office/drawing/2014/main" id="{615433C0-4F96-4EE1-BB0A-F4E2A7B8D049}"/>
                </a:ext>
              </a:extLst>
            </p:cNvPr>
            <p:cNvCxnSpPr>
              <a:cxnSpLocks/>
            </p:cNvCxnSpPr>
            <p:nvPr/>
          </p:nvCxnSpPr>
          <p:spPr>
            <a:xfrm>
              <a:off x="971583" y="1690706"/>
              <a:ext cx="283429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1" name="文本框 20">
            <a:extLst>
              <a:ext uri="{FF2B5EF4-FFF2-40B4-BE49-F238E27FC236}">
                <a16:creationId xmlns:a16="http://schemas.microsoft.com/office/drawing/2014/main" id="{37C7111C-3ACF-4705-ACA2-92E67C22AE5E}"/>
              </a:ext>
            </a:extLst>
          </p:cNvPr>
          <p:cNvSpPr txBox="1"/>
          <p:nvPr/>
        </p:nvSpPr>
        <p:spPr>
          <a:xfrm>
            <a:off x="9895236" y="5401850"/>
            <a:ext cx="1671856" cy="1015663"/>
          </a:xfrm>
          <a:prstGeom prst="rect">
            <a:avLst/>
          </a:prstGeom>
          <a:noFill/>
        </p:spPr>
        <p:txBody>
          <a:bodyPr wrap="square">
            <a:spAutoFit/>
          </a:bodyPr>
          <a:lstStyle/>
          <a:p>
            <a:pPr marL="171450" indent="-171450">
              <a:buFont typeface="Arial" panose="020B0604020202020204" pitchFamily="34" charset="0"/>
              <a:buChar char="•"/>
            </a:pPr>
            <a:r>
              <a:rPr kumimoji="1" lang="en-US" altLang="zh-CN" sz="1200" dirty="0">
                <a:solidFill>
                  <a:srgbClr val="1A1918"/>
                </a:solidFill>
                <a:latin typeface="微软雅黑" panose="020B0503020204020204" pitchFamily="34" charset="-122"/>
                <a:ea typeface="微软雅黑" panose="020B0503020204020204" pitchFamily="34" charset="-122"/>
              </a:rPr>
              <a:t>300mg Q2W</a:t>
            </a:r>
            <a:r>
              <a:rPr kumimoji="1" lang="zh-CN" altLang="en-US" sz="1200" dirty="0">
                <a:solidFill>
                  <a:srgbClr val="1A1918"/>
                </a:solidFill>
                <a:latin typeface="微软雅黑" panose="020B0503020204020204" pitchFamily="34" charset="-122"/>
                <a:ea typeface="微软雅黑" panose="020B0503020204020204" pitchFamily="34" charset="-122"/>
              </a:rPr>
              <a:t>组出现</a:t>
            </a:r>
            <a:r>
              <a:rPr kumimoji="1" lang="en-US" altLang="zh-CN" sz="1200" dirty="0">
                <a:solidFill>
                  <a:srgbClr val="1A1918"/>
                </a:solidFill>
                <a:latin typeface="微软雅黑" panose="020B0503020204020204" pitchFamily="34" charset="-122"/>
                <a:ea typeface="微软雅黑" panose="020B0503020204020204" pitchFamily="34" charset="-122"/>
              </a:rPr>
              <a:t>1</a:t>
            </a:r>
            <a:r>
              <a:rPr kumimoji="1" lang="zh-CN" altLang="en-US" sz="1200" dirty="0">
                <a:solidFill>
                  <a:srgbClr val="1A1918"/>
                </a:solidFill>
                <a:latin typeface="微软雅黑" panose="020B0503020204020204" pitchFamily="34" charset="-122"/>
                <a:ea typeface="微软雅黑" panose="020B0503020204020204" pitchFamily="34" charset="-122"/>
              </a:rPr>
              <a:t>例严重导管部位感染，但</a:t>
            </a:r>
            <a:r>
              <a:rPr kumimoji="1" lang="zh-CN" altLang="en-US" sz="1200" b="1" dirty="0">
                <a:solidFill>
                  <a:schemeClr val="accent2"/>
                </a:solidFill>
                <a:latin typeface="微软雅黑" panose="020B0503020204020204" pitchFamily="34" charset="-122"/>
                <a:ea typeface="微软雅黑" panose="020B0503020204020204" pitchFamily="34" charset="-122"/>
              </a:rPr>
              <a:t>与治疗无关</a:t>
            </a:r>
            <a:endParaRPr kumimoji="1" lang="en-US" altLang="zh-CN" sz="1200" b="1" dirty="0">
              <a:solidFill>
                <a:schemeClr val="accent2"/>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endParaRPr lang="zh-CN" altLang="en-US" sz="1200" dirty="0"/>
          </a:p>
        </p:txBody>
      </p:sp>
      <p:sp>
        <p:nvSpPr>
          <p:cNvPr id="30" name="矩形: 圆角 29">
            <a:extLst>
              <a:ext uri="{FF2B5EF4-FFF2-40B4-BE49-F238E27FC236}">
                <a16:creationId xmlns:a16="http://schemas.microsoft.com/office/drawing/2014/main" id="{AC9815EA-454A-4F72-A985-74747BCDC23A}"/>
              </a:ext>
            </a:extLst>
          </p:cNvPr>
          <p:cNvSpPr/>
          <p:nvPr/>
        </p:nvSpPr>
        <p:spPr>
          <a:xfrm>
            <a:off x="1533525" y="4799784"/>
            <a:ext cx="7989512" cy="1332000"/>
          </a:xfrm>
          <a:prstGeom prst="roundRect">
            <a:avLst>
              <a:gd name="adj" fmla="val 10464"/>
            </a:avLst>
          </a:prstGeom>
          <a:noFill/>
          <a:ln w="19050">
            <a:solidFill>
              <a:schemeClr val="accent2"/>
            </a:solidFill>
            <a:prstDash val="dash"/>
          </a:ln>
        </p:spPr>
        <p:style>
          <a:lnRef idx="1">
            <a:schemeClr val="accent1"/>
          </a:lnRef>
          <a:fillRef idx="0">
            <a:schemeClr val="accent1"/>
          </a:fillRef>
          <a:effectRef idx="0">
            <a:schemeClr val="accent1"/>
          </a:effectRef>
          <a:fontRef idx="minor">
            <a:schemeClr val="tx1"/>
          </a:fontRef>
        </p:style>
        <p:txBody>
          <a:bodyPr wrap="square" rtlCol="0" anchor="t"/>
          <a:lstStyle/>
          <a:p>
            <a:pPr algn="ctr">
              <a:spcAft>
                <a:spcPts val="1200"/>
              </a:spcAft>
            </a:pPr>
            <a:r>
              <a:rPr kumimoji="1" lang="zh-CN" altLang="en-US" sz="1400" b="1" u="sng">
                <a:solidFill>
                  <a:schemeClr val="accent2"/>
                </a:solidFill>
                <a:latin typeface="微软雅黑" panose="020B0503020204020204" pitchFamily="34" charset="-122"/>
                <a:ea typeface="微软雅黑" panose="020B0503020204020204" pitchFamily="34" charset="-122"/>
              </a:rPr>
              <a:t> </a:t>
            </a:r>
            <a:endParaRPr kumimoji="1" lang="en-US" altLang="zh-CN" sz="1200">
              <a:solidFill>
                <a:srgbClr val="1A1918"/>
              </a:solidFill>
              <a:latin typeface="微软雅黑" panose="020B0503020204020204" pitchFamily="34" charset="-122"/>
              <a:ea typeface="微软雅黑" panose="020B0503020204020204" pitchFamily="34" charset="-122"/>
            </a:endParaRPr>
          </a:p>
        </p:txBody>
      </p:sp>
      <p:sp>
        <p:nvSpPr>
          <p:cNvPr id="31" name="文本框 30">
            <a:extLst>
              <a:ext uri="{FF2B5EF4-FFF2-40B4-BE49-F238E27FC236}">
                <a16:creationId xmlns:a16="http://schemas.microsoft.com/office/drawing/2014/main" id="{4519629C-EC5C-434D-9FD3-BAFF14ECD850}"/>
              </a:ext>
            </a:extLst>
          </p:cNvPr>
          <p:cNvSpPr txBox="1"/>
          <p:nvPr/>
        </p:nvSpPr>
        <p:spPr>
          <a:xfrm>
            <a:off x="579773" y="6483798"/>
            <a:ext cx="11312189" cy="246221"/>
          </a:xfrm>
          <a:prstGeom prst="rect">
            <a:avLst/>
          </a:prstGeom>
          <a:noFill/>
        </p:spPr>
        <p:txBody>
          <a:bodyPr wrap="square">
            <a:spAutoFit/>
          </a:bodyPr>
          <a:lstStyle/>
          <a:p>
            <a:r>
              <a:rPr kumimoji="1" lang="zh-CN" altLang="en-US" sz="1000">
                <a:solidFill>
                  <a:srgbClr val="1A1918"/>
                </a:solidFill>
                <a:latin typeface="微软雅黑" panose="020B0503020204020204" pitchFamily="34" charset="-122"/>
                <a:ea typeface="微软雅黑" panose="020B0503020204020204" pitchFamily="34" charset="-122"/>
              </a:rPr>
              <a:t>参考文献：</a:t>
            </a:r>
            <a:r>
              <a:rPr kumimoji="1" lang="en-US" altLang="zh-CN" sz="1000">
                <a:solidFill>
                  <a:srgbClr val="1A1918"/>
                </a:solidFill>
                <a:latin typeface="微软雅黑" panose="020B0503020204020204" pitchFamily="34" charset="-122"/>
                <a:ea typeface="微软雅黑" panose="020B0503020204020204" pitchFamily="34" charset="-122"/>
              </a:rPr>
              <a:t>1. TAKHZYRO 300 mg solution for injection: summary of product characteristics. 2020; 2. </a:t>
            </a:r>
            <a:r>
              <a:rPr kumimoji="1" lang="it-IT" altLang="zh-CN" sz="1000" err="1">
                <a:solidFill>
                  <a:srgbClr val="1A1918"/>
                </a:solidFill>
                <a:latin typeface="微软雅黑" panose="020B0503020204020204" pitchFamily="34" charset="-122"/>
                <a:ea typeface="微软雅黑" panose="020B0503020204020204" pitchFamily="34" charset="-122"/>
              </a:rPr>
              <a:t>Banerji</a:t>
            </a:r>
            <a:r>
              <a:rPr kumimoji="1" lang="it-IT" altLang="zh-CN" sz="1000">
                <a:solidFill>
                  <a:srgbClr val="1A1918"/>
                </a:solidFill>
                <a:latin typeface="微软雅黑" panose="020B0503020204020204" pitchFamily="34" charset="-122"/>
                <a:ea typeface="微软雅黑" panose="020B0503020204020204" pitchFamily="34" charset="-122"/>
              </a:rPr>
              <a:t> A, et al. JAMA 2018;320:2108‒2121.</a:t>
            </a:r>
            <a:endParaRPr lang="zh-CN" altLang="en-US" sz="1000"/>
          </a:p>
        </p:txBody>
      </p:sp>
      <p:sp>
        <p:nvSpPr>
          <p:cNvPr id="23" name="文本框 22">
            <a:extLst>
              <a:ext uri="{FF2B5EF4-FFF2-40B4-BE49-F238E27FC236}">
                <a16:creationId xmlns:a16="http://schemas.microsoft.com/office/drawing/2014/main" id="{4BE08750-B8DA-4C4D-9421-0F243ECC83AB}"/>
              </a:ext>
            </a:extLst>
          </p:cNvPr>
          <p:cNvSpPr txBox="1"/>
          <p:nvPr/>
        </p:nvSpPr>
        <p:spPr>
          <a:xfrm>
            <a:off x="9895236" y="4676661"/>
            <a:ext cx="1671856" cy="646331"/>
          </a:xfrm>
          <a:prstGeom prst="rect">
            <a:avLst/>
          </a:prstGeom>
          <a:noFill/>
        </p:spPr>
        <p:txBody>
          <a:bodyPr wrap="square">
            <a:spAutoFit/>
          </a:bodyPr>
          <a:lstStyle>
            <a:defPPr>
              <a:defRPr lang="en-US"/>
            </a:defPPr>
            <a:lvl1pPr>
              <a:defRPr kumimoji="1" sz="1100">
                <a:solidFill>
                  <a:srgbClr val="1A1918"/>
                </a:solidFill>
                <a:latin typeface="微软雅黑" panose="020B0503020204020204" pitchFamily="34" charset="-122"/>
                <a:ea typeface="微软雅黑" panose="020B0503020204020204" pitchFamily="34" charset="-122"/>
              </a:defRPr>
            </a:lvl1pPr>
          </a:lstStyle>
          <a:p>
            <a:pPr marL="171450" indent="-171450">
              <a:buFont typeface="Arial" panose="020B0604020202020204" pitchFamily="34" charset="0"/>
              <a:buChar char="•"/>
            </a:pPr>
            <a:r>
              <a:rPr lang="zh-CN" altLang="en-US" sz="1200" b="1" dirty="0">
                <a:solidFill>
                  <a:schemeClr val="accent2"/>
                </a:solidFill>
              </a:rPr>
              <a:t>试验中无治疗相关的严重</a:t>
            </a:r>
            <a:r>
              <a:rPr lang="en-US" altLang="zh-CN" sz="1200" b="1" dirty="0">
                <a:solidFill>
                  <a:schemeClr val="accent2"/>
                </a:solidFill>
              </a:rPr>
              <a:t>AE</a:t>
            </a:r>
            <a:r>
              <a:rPr lang="zh-CN" altLang="en-US" sz="1200" b="1" dirty="0">
                <a:solidFill>
                  <a:schemeClr val="accent2"/>
                </a:solidFill>
              </a:rPr>
              <a:t>发生，无</a:t>
            </a:r>
            <a:r>
              <a:rPr lang="en-US" altLang="zh-CN" sz="1200" b="1" dirty="0">
                <a:solidFill>
                  <a:schemeClr val="accent2"/>
                </a:solidFill>
              </a:rPr>
              <a:t>AE</a:t>
            </a:r>
            <a:r>
              <a:rPr lang="zh-CN" altLang="en-US" sz="1200" b="1" dirty="0">
                <a:solidFill>
                  <a:schemeClr val="accent2"/>
                </a:solidFill>
              </a:rPr>
              <a:t>导致死亡发生</a:t>
            </a:r>
            <a:endParaRPr lang="en-US" altLang="zh-CN" sz="1200" b="1" dirty="0">
              <a:solidFill>
                <a:schemeClr val="accent2"/>
              </a:solidFill>
            </a:endParaRPr>
          </a:p>
        </p:txBody>
      </p:sp>
      <p:sp>
        <p:nvSpPr>
          <p:cNvPr id="24" name="等腰三角形 23">
            <a:extLst>
              <a:ext uri="{FF2B5EF4-FFF2-40B4-BE49-F238E27FC236}">
                <a16:creationId xmlns:a16="http://schemas.microsoft.com/office/drawing/2014/main" id="{C8451D2B-AFAA-416B-849D-1DD7A1800755}"/>
              </a:ext>
            </a:extLst>
          </p:cNvPr>
          <p:cNvSpPr/>
          <p:nvPr/>
        </p:nvSpPr>
        <p:spPr>
          <a:xfrm rot="5400000">
            <a:off x="9015194" y="5359148"/>
            <a:ext cx="1308913" cy="236360"/>
          </a:xfrm>
          <a:prstGeom prst="triangle">
            <a:avLst/>
          </a:prstGeom>
          <a:solidFill>
            <a:schemeClr val="bg1">
              <a:lumMod val="85000"/>
            </a:schemeClr>
          </a:solidFill>
          <a:ln w="28575">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sz="140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0041419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 name="矩形: 圆角 75">
            <a:extLst>
              <a:ext uri="{FF2B5EF4-FFF2-40B4-BE49-F238E27FC236}">
                <a16:creationId xmlns:a16="http://schemas.microsoft.com/office/drawing/2014/main" id="{B27F583A-4739-4F82-AE49-2B8D26F29891}"/>
              </a:ext>
            </a:extLst>
          </p:cNvPr>
          <p:cNvSpPr/>
          <p:nvPr/>
        </p:nvSpPr>
        <p:spPr>
          <a:xfrm>
            <a:off x="6515253" y="1659736"/>
            <a:ext cx="5087844" cy="4478005"/>
          </a:xfrm>
          <a:prstGeom prst="roundRect">
            <a:avLst>
              <a:gd name="adj" fmla="val 8830"/>
            </a:avLst>
          </a:prstGeom>
          <a:solidFill>
            <a:srgbClr val="F9F9F9"/>
          </a:solidFill>
          <a:ln w="19050">
            <a:solidFill>
              <a:schemeClr val="accent3"/>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44" name="矩形 43">
            <a:extLst>
              <a:ext uri="{FF2B5EF4-FFF2-40B4-BE49-F238E27FC236}">
                <a16:creationId xmlns:a16="http://schemas.microsoft.com/office/drawing/2014/main" id="{EDF05E3D-21E5-45A5-974E-D359995851BD}"/>
              </a:ext>
            </a:extLst>
          </p:cNvPr>
          <p:cNvSpPr/>
          <p:nvPr/>
        </p:nvSpPr>
        <p:spPr>
          <a:xfrm>
            <a:off x="6507651" y="1517473"/>
            <a:ext cx="5087844" cy="834974"/>
          </a:xfrm>
          <a:prstGeom prst="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42" name="矩形: 圆角 41">
            <a:extLst>
              <a:ext uri="{FF2B5EF4-FFF2-40B4-BE49-F238E27FC236}">
                <a16:creationId xmlns:a16="http://schemas.microsoft.com/office/drawing/2014/main" id="{A10BB6DC-3731-48C3-852B-3FC748723771}"/>
              </a:ext>
            </a:extLst>
          </p:cNvPr>
          <p:cNvSpPr/>
          <p:nvPr/>
        </p:nvSpPr>
        <p:spPr>
          <a:xfrm>
            <a:off x="587375" y="1937655"/>
            <a:ext cx="5087844" cy="4201770"/>
          </a:xfrm>
          <a:prstGeom prst="roundRect">
            <a:avLst>
              <a:gd name="adj" fmla="val 9621"/>
            </a:avLst>
          </a:prstGeom>
          <a:noFill/>
          <a:ln w="19050">
            <a:solidFill>
              <a:schemeClr val="accent2"/>
            </a:solid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43" name="矩形 42">
            <a:extLst>
              <a:ext uri="{FF2B5EF4-FFF2-40B4-BE49-F238E27FC236}">
                <a16:creationId xmlns:a16="http://schemas.microsoft.com/office/drawing/2014/main" id="{C1A1BBDC-E45D-4D29-9649-5024596979D2}"/>
              </a:ext>
            </a:extLst>
          </p:cNvPr>
          <p:cNvSpPr/>
          <p:nvPr/>
        </p:nvSpPr>
        <p:spPr>
          <a:xfrm>
            <a:off x="579773" y="1517473"/>
            <a:ext cx="5087844" cy="834974"/>
          </a:xfrm>
          <a:prstGeom prst="rect">
            <a:avLst/>
          </a:prstGeom>
          <a:solidFill>
            <a:schemeClr val="accent2"/>
          </a:solidFill>
          <a:ln w="28575">
            <a:solidFill>
              <a:schemeClr val="accent2"/>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a:xfrm>
            <a:off x="1038225" y="209230"/>
            <a:ext cx="9508106" cy="685801"/>
          </a:xfrm>
        </p:spPr>
        <p:txBody>
          <a:bodyPr>
            <a:normAutofit/>
          </a:bodyPr>
          <a:lstStyle/>
          <a:p>
            <a:r>
              <a:rPr lang="zh-CN" altLang="en-US" sz="3200">
                <a:solidFill>
                  <a:srgbClr val="1A1918"/>
                </a:solidFill>
                <a:latin typeface="微软雅黑" panose="020B0503020204020204" pitchFamily="34" charset="-122"/>
                <a:ea typeface="微软雅黑" panose="020B0503020204020204" pitchFamily="34" charset="-122"/>
              </a:rPr>
              <a:t>有效性</a:t>
            </a:r>
          </a:p>
        </p:txBody>
      </p:sp>
      <p:sp>
        <p:nvSpPr>
          <p:cNvPr id="22" name="椭圆 21">
            <a:extLst>
              <a:ext uri="{FF2B5EF4-FFF2-40B4-BE49-F238E27FC236}">
                <a16:creationId xmlns:a16="http://schemas.microsoft.com/office/drawing/2014/main" id="{5F530736-32AD-42C7-B3FC-79FE10B74A3A}"/>
              </a:ext>
            </a:extLst>
          </p:cNvPr>
          <p:cNvSpPr/>
          <p:nvPr/>
        </p:nvSpPr>
        <p:spPr>
          <a:xfrm>
            <a:off x="616186" y="315174"/>
            <a:ext cx="360000" cy="360000"/>
          </a:xfrm>
          <a:prstGeom prst="ellipse">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a:solidFill>
                  <a:schemeClr val="bg1"/>
                </a:solidFill>
                <a:latin typeface="微软雅黑" panose="020B0503020204020204" pitchFamily="34" charset="-122"/>
                <a:ea typeface="微软雅黑" panose="020B0503020204020204" pitchFamily="34" charset="-122"/>
              </a:rPr>
              <a:t>3</a:t>
            </a:r>
            <a:endParaRPr kumimoji="1" lang="zh-CN" altLang="en-US" sz="1600" b="1">
              <a:solidFill>
                <a:schemeClr val="bg1"/>
              </a:solidFill>
              <a:latin typeface="微软雅黑" panose="020B0503020204020204" pitchFamily="34" charset="-122"/>
              <a:ea typeface="微软雅黑" panose="020B0503020204020204" pitchFamily="34" charset="-122"/>
            </a:endParaRPr>
          </a:p>
        </p:txBody>
      </p:sp>
      <p:sp>
        <p:nvSpPr>
          <p:cNvPr id="14" name="文本框 13">
            <a:extLst>
              <a:ext uri="{FF2B5EF4-FFF2-40B4-BE49-F238E27FC236}">
                <a16:creationId xmlns:a16="http://schemas.microsoft.com/office/drawing/2014/main" id="{DE919A7C-DE5B-4AE7-9C78-217840C806D4}"/>
              </a:ext>
            </a:extLst>
          </p:cNvPr>
          <p:cNvSpPr txBox="1"/>
          <p:nvPr/>
        </p:nvSpPr>
        <p:spPr>
          <a:xfrm>
            <a:off x="616186" y="1572470"/>
            <a:ext cx="5100612" cy="738664"/>
          </a:xfrm>
          <a:prstGeom prst="rect">
            <a:avLst/>
          </a:prstGeom>
          <a:noFill/>
        </p:spPr>
        <p:txBody>
          <a:bodyPr wrap="square">
            <a:spAutoFit/>
          </a:bodyPr>
          <a:lstStyle>
            <a:defPPr>
              <a:defRPr lang="en-US"/>
            </a:defPPr>
            <a:lvl1pPr marL="171450" indent="-171450">
              <a:buFont typeface="Arial" panose="020B0604020202020204" pitchFamily="34" charset="0"/>
              <a:buChar char="•"/>
              <a:defRPr sz="1200" b="1" u="none" strike="noStrike" baseline="0">
                <a:solidFill>
                  <a:srgbClr val="333333"/>
                </a:solidFill>
                <a:latin typeface="微软雅黑" panose="020B0503020204020204" pitchFamily="34" charset="-122"/>
                <a:ea typeface="微软雅黑" panose="020B0503020204020204" pitchFamily="34" charset="-122"/>
              </a:defRPr>
            </a:lvl1pPr>
          </a:lstStyle>
          <a:p>
            <a:pPr marL="0" indent="0" algn="ctr">
              <a:buNone/>
            </a:pPr>
            <a:r>
              <a:rPr lang="en-US" altLang="zh-CN" sz="1400" b="0" u="none" strike="noStrike" baseline="0" dirty="0">
                <a:solidFill>
                  <a:schemeClr val="bg1"/>
                </a:solidFill>
                <a:latin typeface="微软雅黑" panose="020B0503020204020204" pitchFamily="34" charset="-122"/>
                <a:ea typeface="微软雅黑" panose="020B0503020204020204" pitchFamily="34" charset="-122"/>
              </a:rPr>
              <a:t>HELP</a:t>
            </a:r>
            <a:r>
              <a:rPr lang="zh-CN" altLang="en-US" sz="1400" b="0" dirty="0">
                <a:solidFill>
                  <a:schemeClr val="bg1"/>
                </a:solidFill>
              </a:rPr>
              <a:t>研究：</a:t>
            </a:r>
            <a:r>
              <a:rPr lang="zh-CN" altLang="en-US" sz="1400" u="none" strike="noStrike" baseline="0" dirty="0">
                <a:solidFill>
                  <a:schemeClr val="bg1"/>
                </a:solidFill>
                <a:latin typeface="微软雅黑" panose="020B0503020204020204" pitchFamily="34" charset="-122"/>
                <a:ea typeface="微软雅黑" panose="020B0503020204020204" pitchFamily="34" charset="-122"/>
              </a:rPr>
              <a:t>拉那利尤单抗可显著降低</a:t>
            </a:r>
            <a:r>
              <a:rPr lang="en-US" altLang="zh-CN" sz="1400" u="none" strike="noStrike" baseline="0" dirty="0">
                <a:solidFill>
                  <a:schemeClr val="bg1"/>
                </a:solidFill>
                <a:latin typeface="微软雅黑" panose="020B0503020204020204" pitchFamily="34" charset="-122"/>
                <a:ea typeface="微软雅黑" panose="020B0503020204020204" pitchFamily="34" charset="-122"/>
              </a:rPr>
              <a:t>HAE</a:t>
            </a:r>
            <a:r>
              <a:rPr lang="zh-CN" altLang="en-US" sz="1400" u="none" strike="noStrike" baseline="0" dirty="0">
                <a:solidFill>
                  <a:schemeClr val="bg1"/>
                </a:solidFill>
                <a:latin typeface="微软雅黑" panose="020B0503020204020204" pitchFamily="34" charset="-122"/>
                <a:ea typeface="微软雅黑" panose="020B0503020204020204" pitchFamily="34" charset="-122"/>
              </a:rPr>
              <a:t>急性发作率</a:t>
            </a:r>
            <a:r>
              <a:rPr lang="zh-CN" altLang="en-US" sz="1400" b="0" u="none" strike="noStrike" baseline="0" dirty="0">
                <a:solidFill>
                  <a:schemeClr val="bg1"/>
                </a:solidFill>
                <a:latin typeface="微软雅黑" panose="020B0503020204020204" pitchFamily="34" charset="-122"/>
                <a:ea typeface="微软雅黑" panose="020B0503020204020204" pitchFamily="34" charset="-122"/>
              </a:rPr>
              <a:t>，</a:t>
            </a:r>
            <a:r>
              <a:rPr lang="en-US" altLang="zh-CN" sz="1400" b="0" u="none" strike="noStrike" baseline="0" dirty="0">
                <a:solidFill>
                  <a:schemeClr val="bg1"/>
                </a:solidFill>
                <a:latin typeface="微软雅黑" panose="020B0503020204020204" pitchFamily="34" charset="-122"/>
                <a:ea typeface="微软雅黑" panose="020B0503020204020204" pitchFamily="34" charset="-122"/>
              </a:rPr>
              <a:t>26</a:t>
            </a:r>
            <a:r>
              <a:rPr lang="zh-CN" altLang="en-US" sz="1400" b="0" u="none" strike="noStrike" baseline="0" dirty="0">
                <a:solidFill>
                  <a:schemeClr val="bg1"/>
                </a:solidFill>
                <a:latin typeface="微软雅黑" panose="020B0503020204020204" pitchFamily="34" charset="-122"/>
                <a:ea typeface="微软雅黑" panose="020B0503020204020204" pitchFamily="34" charset="-122"/>
              </a:rPr>
              <a:t>周内</a:t>
            </a:r>
            <a:r>
              <a:rPr lang="zh-CN" altLang="en-US" sz="1400" dirty="0">
                <a:solidFill>
                  <a:schemeClr val="bg1"/>
                </a:solidFill>
              </a:rPr>
              <a:t>水肿每月平均发作率降低</a:t>
            </a:r>
            <a:r>
              <a:rPr lang="en-US" altLang="zh-CN" sz="1400" dirty="0">
                <a:solidFill>
                  <a:schemeClr val="bg1"/>
                </a:solidFill>
              </a:rPr>
              <a:t>86.9%</a:t>
            </a:r>
            <a:r>
              <a:rPr lang="zh-CN" altLang="en-US" sz="1400" dirty="0">
                <a:solidFill>
                  <a:schemeClr val="bg1"/>
                </a:solidFill>
              </a:rPr>
              <a:t>（</a:t>
            </a:r>
            <a:r>
              <a:rPr lang="en-US" altLang="zh-CN" sz="1400" dirty="0">
                <a:solidFill>
                  <a:schemeClr val="bg1"/>
                </a:solidFill>
              </a:rPr>
              <a:t>0.26</a:t>
            </a:r>
            <a:r>
              <a:rPr lang="zh-CN" altLang="en-US" sz="1400" dirty="0">
                <a:solidFill>
                  <a:schemeClr val="bg1"/>
                </a:solidFill>
              </a:rPr>
              <a:t>次</a:t>
            </a:r>
            <a:r>
              <a:rPr lang="en-US" altLang="zh-CN" sz="1400" dirty="0">
                <a:solidFill>
                  <a:schemeClr val="bg1"/>
                </a:solidFill>
              </a:rPr>
              <a:t>vs.1.97</a:t>
            </a:r>
            <a:r>
              <a:rPr lang="zh-CN" altLang="en-US" sz="1400" dirty="0">
                <a:solidFill>
                  <a:schemeClr val="bg1"/>
                </a:solidFill>
              </a:rPr>
              <a:t>次）；稳态期无水肿发作患者比例达</a:t>
            </a:r>
            <a:r>
              <a:rPr lang="en-US" altLang="zh-CN" sz="1400" dirty="0">
                <a:solidFill>
                  <a:schemeClr val="bg1"/>
                </a:solidFill>
              </a:rPr>
              <a:t>77%</a:t>
            </a:r>
          </a:p>
        </p:txBody>
      </p:sp>
      <p:grpSp>
        <p:nvGrpSpPr>
          <p:cNvPr id="2" name="组合 1">
            <a:extLst>
              <a:ext uri="{FF2B5EF4-FFF2-40B4-BE49-F238E27FC236}">
                <a16:creationId xmlns:a16="http://schemas.microsoft.com/office/drawing/2014/main" id="{0BDA5794-EEC2-4691-91E9-91B3E4D89CAA}"/>
              </a:ext>
            </a:extLst>
          </p:cNvPr>
          <p:cNvGrpSpPr/>
          <p:nvPr/>
        </p:nvGrpSpPr>
        <p:grpSpPr>
          <a:xfrm>
            <a:off x="803966" y="2536816"/>
            <a:ext cx="4434785" cy="1705653"/>
            <a:chOff x="657176" y="2730694"/>
            <a:chExt cx="4889522" cy="3464755"/>
          </a:xfrm>
        </p:grpSpPr>
        <p:graphicFrame>
          <p:nvGraphicFramePr>
            <p:cNvPr id="25" name="图表 24">
              <a:extLst>
                <a:ext uri="{FF2B5EF4-FFF2-40B4-BE49-F238E27FC236}">
                  <a16:creationId xmlns:a16="http://schemas.microsoft.com/office/drawing/2014/main" id="{8B3F49B8-9A6D-4FAB-90E1-DFB0AAC68ABC}"/>
                </a:ext>
              </a:extLst>
            </p:cNvPr>
            <p:cNvGraphicFramePr/>
            <p:nvPr>
              <p:extLst>
                <p:ext uri="{D42A27DB-BD31-4B8C-83A1-F6EECF244321}">
                  <p14:modId xmlns:p14="http://schemas.microsoft.com/office/powerpoint/2010/main" val="3897613386"/>
                </p:ext>
              </p:extLst>
            </p:nvPr>
          </p:nvGraphicFramePr>
          <p:xfrm>
            <a:off x="1154431" y="3066299"/>
            <a:ext cx="4392267" cy="3129150"/>
          </p:xfrm>
          <a:graphic>
            <a:graphicData uri="http://schemas.openxmlformats.org/drawingml/2006/chart">
              <c:chart xmlns:c="http://schemas.openxmlformats.org/drawingml/2006/chart" xmlns:r="http://schemas.openxmlformats.org/officeDocument/2006/relationships" r:id="rId7"/>
            </a:graphicData>
          </a:graphic>
        </p:graphicFrame>
        <p:sp>
          <p:nvSpPr>
            <p:cNvPr id="26" name="矩形 25">
              <a:extLst>
                <a:ext uri="{FF2B5EF4-FFF2-40B4-BE49-F238E27FC236}">
                  <a16:creationId xmlns:a16="http://schemas.microsoft.com/office/drawing/2014/main" id="{82EE6B18-A923-44B1-A0DB-2C9CB9C66A16}"/>
                </a:ext>
              </a:extLst>
            </p:cNvPr>
            <p:cNvSpPr/>
            <p:nvPr/>
          </p:nvSpPr>
          <p:spPr>
            <a:xfrm rot="16200000">
              <a:off x="-398356" y="4295329"/>
              <a:ext cx="2507063" cy="396000"/>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000" b="1" dirty="0">
                  <a:solidFill>
                    <a:srgbClr val="1A1918"/>
                  </a:solidFill>
                  <a:latin typeface="微软雅黑" panose="020B0503020204020204" pitchFamily="34" charset="-122"/>
                  <a:ea typeface="微软雅黑" panose="020B0503020204020204" pitchFamily="34" charset="-122"/>
                </a:rPr>
                <a:t>平均发作率</a:t>
              </a:r>
              <a:endParaRPr kumimoji="1" lang="en-US" altLang="zh-CN" sz="1000" b="1" dirty="0">
                <a:solidFill>
                  <a:srgbClr val="1A1918"/>
                </a:solidFill>
                <a:latin typeface="微软雅黑" panose="020B0503020204020204" pitchFamily="34" charset="-122"/>
                <a:ea typeface="微软雅黑" panose="020B0503020204020204" pitchFamily="34" charset="-122"/>
              </a:endParaRPr>
            </a:p>
            <a:p>
              <a:pPr algn="ctr"/>
              <a:r>
                <a:rPr kumimoji="1" lang="zh-CN" altLang="en-US" sz="1000" b="1" dirty="0">
                  <a:solidFill>
                    <a:srgbClr val="1A1918"/>
                  </a:solidFill>
                  <a:latin typeface="微软雅黑" panose="020B0503020204020204" pitchFamily="34" charset="-122"/>
                  <a:ea typeface="微软雅黑" panose="020B0503020204020204" pitchFamily="34" charset="-122"/>
                </a:rPr>
                <a:t>（发作次数</a:t>
              </a:r>
              <a:r>
                <a:rPr kumimoji="1" lang="en-US" altLang="zh-CN" sz="1000" b="1" dirty="0">
                  <a:solidFill>
                    <a:srgbClr val="1A1918"/>
                  </a:solidFill>
                  <a:latin typeface="微软雅黑" panose="020B0503020204020204" pitchFamily="34" charset="-122"/>
                  <a:ea typeface="微软雅黑" panose="020B0503020204020204" pitchFamily="34" charset="-122"/>
                </a:rPr>
                <a:t>/4</a:t>
              </a:r>
              <a:r>
                <a:rPr kumimoji="1" lang="zh-CN" altLang="en-US" sz="1000" b="1" dirty="0">
                  <a:solidFill>
                    <a:srgbClr val="1A1918"/>
                  </a:solidFill>
                  <a:latin typeface="微软雅黑" panose="020B0503020204020204" pitchFamily="34" charset="-122"/>
                  <a:ea typeface="微软雅黑" panose="020B0503020204020204" pitchFamily="34" charset="-122"/>
                </a:rPr>
                <a:t>周，</a:t>
              </a:r>
              <a:r>
                <a:rPr kumimoji="1" lang="en-US" altLang="zh-CN" sz="1000" b="1" dirty="0">
                  <a:solidFill>
                    <a:srgbClr val="1A1918"/>
                  </a:solidFill>
                  <a:latin typeface="微软雅黑" panose="020B0503020204020204" pitchFamily="34" charset="-122"/>
                  <a:ea typeface="微软雅黑" panose="020B0503020204020204" pitchFamily="34" charset="-122"/>
                </a:rPr>
                <a:t>0-182</a:t>
              </a:r>
              <a:r>
                <a:rPr kumimoji="1" lang="zh-CN" altLang="en-US" sz="1000" b="1" dirty="0">
                  <a:solidFill>
                    <a:srgbClr val="1A1918"/>
                  </a:solidFill>
                  <a:latin typeface="微软雅黑" panose="020B0503020204020204" pitchFamily="34" charset="-122"/>
                  <a:ea typeface="微软雅黑" panose="020B0503020204020204" pitchFamily="34" charset="-122"/>
                </a:rPr>
                <a:t>天）</a:t>
              </a:r>
            </a:p>
          </p:txBody>
        </p:sp>
        <p:sp>
          <p:nvSpPr>
            <p:cNvPr id="29" name="矩形 28">
              <a:extLst>
                <a:ext uri="{FF2B5EF4-FFF2-40B4-BE49-F238E27FC236}">
                  <a16:creationId xmlns:a16="http://schemas.microsoft.com/office/drawing/2014/main" id="{0C46B307-5005-4818-AB12-83BE78CD0D45}"/>
                </a:ext>
              </a:extLst>
            </p:cNvPr>
            <p:cNvSpPr/>
            <p:nvPr/>
          </p:nvSpPr>
          <p:spPr>
            <a:xfrm>
              <a:off x="3062233" y="2730694"/>
              <a:ext cx="820473" cy="396001"/>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100" dirty="0">
                  <a:solidFill>
                    <a:srgbClr val="1A1918"/>
                  </a:solidFill>
                  <a:latin typeface="微软雅黑" panose="020B0503020204020204" pitchFamily="34" charset="-122"/>
                  <a:ea typeface="微软雅黑" panose="020B0503020204020204" pitchFamily="34" charset="-122"/>
                </a:rPr>
                <a:t>P&lt;0.001</a:t>
              </a:r>
              <a:endParaRPr kumimoji="1" lang="zh-CN" altLang="en-US" sz="1100" dirty="0">
                <a:solidFill>
                  <a:srgbClr val="1A1918"/>
                </a:solidFill>
                <a:latin typeface="微软雅黑" panose="020B0503020204020204" pitchFamily="34" charset="-122"/>
                <a:ea typeface="微软雅黑" panose="020B0503020204020204" pitchFamily="34" charset="-122"/>
              </a:endParaRPr>
            </a:p>
          </p:txBody>
        </p:sp>
        <p:sp>
          <p:nvSpPr>
            <p:cNvPr id="39" name="椭圆 38">
              <a:extLst>
                <a:ext uri="{FF2B5EF4-FFF2-40B4-BE49-F238E27FC236}">
                  <a16:creationId xmlns:a16="http://schemas.microsoft.com/office/drawing/2014/main" id="{4DE64BD8-DC7F-435F-9CD7-E4F5E9532E3A}"/>
                </a:ext>
              </a:extLst>
            </p:cNvPr>
            <p:cNvSpPr/>
            <p:nvPr/>
          </p:nvSpPr>
          <p:spPr>
            <a:xfrm>
              <a:off x="4625739" y="3240376"/>
              <a:ext cx="846565" cy="1096922"/>
            </a:xfrm>
            <a:prstGeom prst="ellipse">
              <a:avLst/>
            </a:prstGeom>
            <a:solidFill>
              <a:schemeClr val="accent2"/>
            </a:solidFill>
            <a:ln w="28575">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b="1" dirty="0">
                  <a:solidFill>
                    <a:schemeClr val="bg1"/>
                  </a:solidFill>
                </a:rPr>
                <a:t>-87%</a:t>
              </a:r>
              <a:endParaRPr kumimoji="1" lang="zh-CN" altLang="en-US" b="1" dirty="0">
                <a:solidFill>
                  <a:schemeClr val="bg1"/>
                </a:solidFill>
              </a:endParaRPr>
            </a:p>
          </p:txBody>
        </p:sp>
        <p:sp>
          <p:nvSpPr>
            <p:cNvPr id="41" name="矩形 40">
              <a:extLst>
                <a:ext uri="{FF2B5EF4-FFF2-40B4-BE49-F238E27FC236}">
                  <a16:creationId xmlns:a16="http://schemas.microsoft.com/office/drawing/2014/main" id="{BCB59ADF-DFA9-4349-9142-BF424B238C51}"/>
                </a:ext>
              </a:extLst>
            </p:cNvPr>
            <p:cNvSpPr/>
            <p:nvPr/>
          </p:nvSpPr>
          <p:spPr>
            <a:xfrm>
              <a:off x="4036426" y="5834344"/>
              <a:ext cx="820473" cy="218588"/>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100" b="1" dirty="0">
                  <a:solidFill>
                    <a:schemeClr val="accent2"/>
                  </a:solidFill>
                  <a:latin typeface="微软雅黑" panose="020B0503020204020204" pitchFamily="34" charset="-122"/>
                  <a:ea typeface="微软雅黑" panose="020B0503020204020204" pitchFamily="34" charset="-122"/>
                </a:rPr>
                <a:t>拉那利尤单抗</a:t>
              </a:r>
              <a:endParaRPr kumimoji="1" lang="zh-CN" altLang="en-US" sz="1100" dirty="0">
                <a:solidFill>
                  <a:schemeClr val="accent2"/>
                </a:solidFill>
                <a:latin typeface="微软雅黑" panose="020B0503020204020204" pitchFamily="34" charset="-122"/>
                <a:ea typeface="微软雅黑" panose="020B0503020204020204" pitchFamily="34" charset="-122"/>
              </a:endParaRPr>
            </a:p>
          </p:txBody>
        </p:sp>
      </p:grpSp>
      <p:grpSp>
        <p:nvGrpSpPr>
          <p:cNvPr id="60" name="组合 59">
            <a:extLst>
              <a:ext uri="{FF2B5EF4-FFF2-40B4-BE49-F238E27FC236}">
                <a16:creationId xmlns:a16="http://schemas.microsoft.com/office/drawing/2014/main" id="{8CDE83DB-6B90-4AE2-8878-ABF9366852DC}"/>
              </a:ext>
            </a:extLst>
          </p:cNvPr>
          <p:cNvGrpSpPr/>
          <p:nvPr/>
        </p:nvGrpSpPr>
        <p:grpSpPr>
          <a:xfrm>
            <a:off x="983551" y="4426838"/>
            <a:ext cx="4187724" cy="1540439"/>
            <a:chOff x="636200" y="3119326"/>
            <a:chExt cx="5075379" cy="3129151"/>
          </a:xfrm>
        </p:grpSpPr>
        <p:graphicFrame>
          <p:nvGraphicFramePr>
            <p:cNvPr id="61" name="图表 60">
              <a:extLst>
                <a:ext uri="{FF2B5EF4-FFF2-40B4-BE49-F238E27FC236}">
                  <a16:creationId xmlns:a16="http://schemas.microsoft.com/office/drawing/2014/main" id="{214035D2-77D4-4086-9B66-647AC09DB3B9}"/>
                </a:ext>
              </a:extLst>
            </p:cNvPr>
            <p:cNvGraphicFramePr/>
            <p:nvPr>
              <p:extLst>
                <p:ext uri="{D42A27DB-BD31-4B8C-83A1-F6EECF244321}">
                  <p14:modId xmlns:p14="http://schemas.microsoft.com/office/powerpoint/2010/main" val="2721065076"/>
                </p:ext>
              </p:extLst>
            </p:nvPr>
          </p:nvGraphicFramePr>
          <p:xfrm>
            <a:off x="929753" y="3119326"/>
            <a:ext cx="4508562" cy="3129151"/>
          </p:xfrm>
          <a:graphic>
            <a:graphicData uri="http://schemas.openxmlformats.org/drawingml/2006/chart">
              <c:chart xmlns:c="http://schemas.openxmlformats.org/drawingml/2006/chart" xmlns:r="http://schemas.openxmlformats.org/officeDocument/2006/relationships" r:id="rId8"/>
            </a:graphicData>
          </a:graphic>
        </p:graphicFrame>
        <p:sp>
          <p:nvSpPr>
            <p:cNvPr id="71" name="矩形 70">
              <a:extLst>
                <a:ext uri="{FF2B5EF4-FFF2-40B4-BE49-F238E27FC236}">
                  <a16:creationId xmlns:a16="http://schemas.microsoft.com/office/drawing/2014/main" id="{F1742441-0138-4D58-97C4-28F569F4E9F0}"/>
                </a:ext>
              </a:extLst>
            </p:cNvPr>
            <p:cNvSpPr/>
            <p:nvPr/>
          </p:nvSpPr>
          <p:spPr>
            <a:xfrm rot="16200000">
              <a:off x="-444750" y="4249126"/>
              <a:ext cx="2507062" cy="345161"/>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000" b="1">
                  <a:solidFill>
                    <a:srgbClr val="1A1918"/>
                  </a:solidFill>
                  <a:latin typeface="微软雅黑" panose="020B0503020204020204" pitchFamily="34" charset="-122"/>
                  <a:ea typeface="微软雅黑" panose="020B0503020204020204" pitchFamily="34" charset="-122"/>
                </a:rPr>
                <a:t>无水肿发作患者比例</a:t>
              </a:r>
              <a:endParaRPr kumimoji="1" lang="en-US" altLang="zh-CN" sz="1000" b="1">
                <a:solidFill>
                  <a:srgbClr val="1A1918"/>
                </a:solidFill>
                <a:latin typeface="微软雅黑" panose="020B0503020204020204" pitchFamily="34" charset="-122"/>
                <a:ea typeface="微软雅黑" panose="020B0503020204020204" pitchFamily="34" charset="-122"/>
              </a:endParaRPr>
            </a:p>
            <a:p>
              <a:pPr algn="ctr"/>
              <a:r>
                <a:rPr kumimoji="1" lang="zh-CN" altLang="en-US" sz="1000" b="1">
                  <a:solidFill>
                    <a:srgbClr val="1A1918"/>
                  </a:solidFill>
                  <a:latin typeface="微软雅黑" panose="020B0503020204020204" pitchFamily="34" charset="-122"/>
                  <a:ea typeface="微软雅黑" panose="020B0503020204020204" pitchFamily="34" charset="-122"/>
                </a:rPr>
                <a:t>（</a:t>
              </a:r>
              <a:r>
                <a:rPr kumimoji="1" lang="en-US" altLang="zh-CN" sz="1000" b="1">
                  <a:solidFill>
                    <a:srgbClr val="1A1918"/>
                  </a:solidFill>
                  <a:latin typeface="微软雅黑" panose="020B0503020204020204" pitchFamily="34" charset="-122"/>
                  <a:ea typeface="微软雅黑" panose="020B0503020204020204" pitchFamily="34" charset="-122"/>
                </a:rPr>
                <a:t>70-182</a:t>
              </a:r>
              <a:r>
                <a:rPr kumimoji="1" lang="zh-CN" altLang="en-US" sz="1000" b="1">
                  <a:solidFill>
                    <a:srgbClr val="1A1918"/>
                  </a:solidFill>
                  <a:latin typeface="微软雅黑" panose="020B0503020204020204" pitchFamily="34" charset="-122"/>
                  <a:ea typeface="微软雅黑" panose="020B0503020204020204" pitchFamily="34" charset="-122"/>
                </a:rPr>
                <a:t>天）</a:t>
              </a:r>
            </a:p>
          </p:txBody>
        </p:sp>
        <p:sp>
          <p:nvSpPr>
            <p:cNvPr id="74" name="矩形 73">
              <a:extLst>
                <a:ext uri="{FF2B5EF4-FFF2-40B4-BE49-F238E27FC236}">
                  <a16:creationId xmlns:a16="http://schemas.microsoft.com/office/drawing/2014/main" id="{8F87823B-F250-4322-8598-1B4F44BAED4D}"/>
                </a:ext>
              </a:extLst>
            </p:cNvPr>
            <p:cNvSpPr/>
            <p:nvPr/>
          </p:nvSpPr>
          <p:spPr>
            <a:xfrm>
              <a:off x="2979684" y="3328700"/>
              <a:ext cx="820473" cy="396001"/>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100" dirty="0">
                  <a:solidFill>
                    <a:srgbClr val="1A1918"/>
                  </a:solidFill>
                  <a:latin typeface="微软雅黑" panose="020B0503020204020204" pitchFamily="34" charset="-122"/>
                  <a:ea typeface="微软雅黑" panose="020B0503020204020204" pitchFamily="34" charset="-122"/>
                </a:rPr>
                <a:t>P&lt;0.001</a:t>
              </a:r>
              <a:endParaRPr kumimoji="1" lang="zh-CN" altLang="en-US" sz="1100" dirty="0">
                <a:solidFill>
                  <a:srgbClr val="1A1918"/>
                </a:solidFill>
                <a:latin typeface="微软雅黑" panose="020B0503020204020204" pitchFamily="34" charset="-122"/>
                <a:ea typeface="微软雅黑" panose="020B0503020204020204" pitchFamily="34" charset="-122"/>
              </a:endParaRPr>
            </a:p>
          </p:txBody>
        </p:sp>
        <p:sp>
          <p:nvSpPr>
            <p:cNvPr id="81" name="椭圆 80">
              <a:extLst>
                <a:ext uri="{FF2B5EF4-FFF2-40B4-BE49-F238E27FC236}">
                  <a16:creationId xmlns:a16="http://schemas.microsoft.com/office/drawing/2014/main" id="{B447B8AC-08A7-4214-9DC4-78FD97115D0E}"/>
                </a:ext>
              </a:extLst>
            </p:cNvPr>
            <p:cNvSpPr/>
            <p:nvPr/>
          </p:nvSpPr>
          <p:spPr>
            <a:xfrm>
              <a:off x="4780993" y="3301186"/>
              <a:ext cx="930586" cy="1096922"/>
            </a:xfrm>
            <a:prstGeom prst="ellipse">
              <a:avLst/>
            </a:prstGeom>
            <a:solidFill>
              <a:schemeClr val="accent2"/>
            </a:solidFill>
            <a:ln w="28575">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b="1" dirty="0">
                  <a:solidFill>
                    <a:schemeClr val="bg1"/>
                  </a:solidFill>
                </a:rPr>
                <a:t>77%</a:t>
              </a:r>
            </a:p>
            <a:p>
              <a:pPr algn="ctr"/>
              <a:r>
                <a:rPr kumimoji="1" lang="zh-CN" altLang="en-US" sz="1050" b="1" dirty="0">
                  <a:solidFill>
                    <a:schemeClr val="bg1"/>
                  </a:solidFill>
                  <a:latin typeface="微软雅黑" panose="020B0503020204020204" pitchFamily="34" charset="-122"/>
                  <a:ea typeface="微软雅黑" panose="020B0503020204020204" pitchFamily="34" charset="-122"/>
                </a:rPr>
                <a:t>无发作</a:t>
              </a:r>
            </a:p>
          </p:txBody>
        </p:sp>
        <p:sp>
          <p:nvSpPr>
            <p:cNvPr id="83" name="矩形 82">
              <a:extLst>
                <a:ext uri="{FF2B5EF4-FFF2-40B4-BE49-F238E27FC236}">
                  <a16:creationId xmlns:a16="http://schemas.microsoft.com/office/drawing/2014/main" id="{D902F479-A365-4077-B720-6092BDE0E09E}"/>
                </a:ext>
              </a:extLst>
            </p:cNvPr>
            <p:cNvSpPr/>
            <p:nvPr/>
          </p:nvSpPr>
          <p:spPr>
            <a:xfrm>
              <a:off x="4014159" y="5757745"/>
              <a:ext cx="820473" cy="218588"/>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100" b="1">
                  <a:solidFill>
                    <a:schemeClr val="accent2"/>
                  </a:solidFill>
                  <a:latin typeface="微软雅黑" panose="020B0503020204020204" pitchFamily="34" charset="-122"/>
                  <a:ea typeface="微软雅黑" panose="020B0503020204020204" pitchFamily="34" charset="-122"/>
                </a:rPr>
                <a:t>拉那利尤单抗</a:t>
              </a:r>
              <a:endParaRPr kumimoji="1" lang="zh-CN" altLang="en-US" sz="1100">
                <a:solidFill>
                  <a:schemeClr val="accent2"/>
                </a:solidFill>
                <a:latin typeface="微软雅黑" panose="020B0503020204020204" pitchFamily="34" charset="-122"/>
                <a:ea typeface="微软雅黑" panose="020B0503020204020204" pitchFamily="34" charset="-122"/>
              </a:endParaRPr>
            </a:p>
          </p:txBody>
        </p:sp>
      </p:grpSp>
      <p:sp>
        <p:nvSpPr>
          <p:cNvPr id="75" name="Text Placeholder 5">
            <a:extLst>
              <a:ext uri="{FF2B5EF4-FFF2-40B4-BE49-F238E27FC236}">
                <a16:creationId xmlns:a16="http://schemas.microsoft.com/office/drawing/2014/main" id="{F3153B8E-3528-450E-94FF-DDFDAAE5FF12}"/>
              </a:ext>
            </a:extLst>
          </p:cNvPr>
          <p:cNvSpPr txBox="1">
            <a:spLocks/>
          </p:cNvSpPr>
          <p:nvPr/>
        </p:nvSpPr>
        <p:spPr>
          <a:xfrm>
            <a:off x="1038224" y="817217"/>
            <a:ext cx="10853737" cy="263075"/>
          </a:xfrm>
          <a:prstGeom prst="rect">
            <a:avLst/>
          </a:prstGeom>
        </p:spPr>
        <p:txBody>
          <a:bodyP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zh-CN" sz="1800" b="1" dirty="0">
                <a:solidFill>
                  <a:srgbClr val="1A1918"/>
                </a:solidFill>
                <a:latin typeface="微软雅黑" panose="020B0503020204020204" pitchFamily="34" charset="-122"/>
                <a:ea typeface="微软雅黑" panose="020B0503020204020204" pitchFamily="34" charset="-122"/>
              </a:rPr>
              <a:t>——</a:t>
            </a:r>
            <a:r>
              <a:rPr lang="zh-CN" altLang="en-US" sz="1800" b="1" dirty="0">
                <a:solidFill>
                  <a:srgbClr val="1A1918"/>
                </a:solidFill>
                <a:latin typeface="微软雅黑" panose="020B0503020204020204" pitchFamily="34" charset="-122"/>
                <a:ea typeface="微软雅黑" panose="020B0503020204020204" pitchFamily="34" charset="-122"/>
              </a:rPr>
              <a:t>临床试验及真实世界研究均显示：拉那利尤单抗可显著降低</a:t>
            </a:r>
            <a:r>
              <a:rPr lang="en-US" altLang="zh-CN" sz="1800" b="1" dirty="0">
                <a:solidFill>
                  <a:srgbClr val="1A1918"/>
                </a:solidFill>
                <a:latin typeface="微软雅黑" panose="020B0503020204020204" pitchFamily="34" charset="-122"/>
                <a:ea typeface="微软雅黑" panose="020B0503020204020204" pitchFamily="34" charset="-122"/>
              </a:rPr>
              <a:t>HAE</a:t>
            </a:r>
            <a:r>
              <a:rPr lang="zh-CN" altLang="en-US" sz="1800" b="1" dirty="0">
                <a:solidFill>
                  <a:srgbClr val="1A1918"/>
                </a:solidFill>
                <a:latin typeface="微软雅黑" panose="020B0503020204020204" pitchFamily="34" charset="-122"/>
                <a:ea typeface="微软雅黑" panose="020B0503020204020204" pitchFamily="34" charset="-122"/>
              </a:rPr>
              <a:t>发作率，实现潜在“零发作”</a:t>
            </a:r>
          </a:p>
        </p:txBody>
      </p:sp>
      <p:cxnSp>
        <p:nvCxnSpPr>
          <p:cNvPr id="20" name="直接连接符 19">
            <a:extLst>
              <a:ext uri="{FF2B5EF4-FFF2-40B4-BE49-F238E27FC236}">
                <a16:creationId xmlns:a16="http://schemas.microsoft.com/office/drawing/2014/main" id="{47D66DC3-314B-48BC-B301-B6E462043252}"/>
              </a:ext>
            </a:extLst>
          </p:cNvPr>
          <p:cNvCxnSpPr>
            <a:cxnSpLocks/>
          </p:cNvCxnSpPr>
          <p:nvPr/>
        </p:nvCxnSpPr>
        <p:spPr>
          <a:xfrm flipV="1">
            <a:off x="2481269" y="2731762"/>
            <a:ext cx="1752322"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23" name="直接箭头连接符 22">
            <a:extLst>
              <a:ext uri="{FF2B5EF4-FFF2-40B4-BE49-F238E27FC236}">
                <a16:creationId xmlns:a16="http://schemas.microsoft.com/office/drawing/2014/main" id="{3DA2CC8D-BDC3-4D38-BA89-3BCE159D6C98}"/>
              </a:ext>
            </a:extLst>
          </p:cNvPr>
          <p:cNvCxnSpPr>
            <a:cxnSpLocks/>
          </p:cNvCxnSpPr>
          <p:nvPr/>
        </p:nvCxnSpPr>
        <p:spPr>
          <a:xfrm>
            <a:off x="4238199" y="2731316"/>
            <a:ext cx="0" cy="614471"/>
          </a:xfrm>
          <a:prstGeom prst="straightConnector1">
            <a:avLst/>
          </a:prstGeom>
          <a:ln>
            <a:solidFill>
              <a:srgbClr val="1A1918"/>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78" name="直接连接符 77">
            <a:extLst>
              <a:ext uri="{FF2B5EF4-FFF2-40B4-BE49-F238E27FC236}">
                <a16:creationId xmlns:a16="http://schemas.microsoft.com/office/drawing/2014/main" id="{03276FA1-629D-4C85-A7AE-2E637C21EA14}"/>
              </a:ext>
            </a:extLst>
          </p:cNvPr>
          <p:cNvCxnSpPr>
            <a:cxnSpLocks/>
          </p:cNvCxnSpPr>
          <p:nvPr/>
        </p:nvCxnSpPr>
        <p:spPr>
          <a:xfrm>
            <a:off x="2523162" y="4745611"/>
            <a:ext cx="1345776" cy="0"/>
          </a:xfrm>
          <a:prstGeom prst="line">
            <a:avLst/>
          </a:prstGeom>
          <a:ln w="9525" cap="flat" cmpd="sng" algn="ctr">
            <a:solidFill>
              <a:schemeClr val="accent3"/>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9" name="直接箭头连接符 78">
            <a:extLst>
              <a:ext uri="{FF2B5EF4-FFF2-40B4-BE49-F238E27FC236}">
                <a16:creationId xmlns:a16="http://schemas.microsoft.com/office/drawing/2014/main" id="{1146DDBA-A174-4BB7-8A25-3A09690EF9F9}"/>
              </a:ext>
            </a:extLst>
          </p:cNvPr>
          <p:cNvCxnSpPr>
            <a:cxnSpLocks/>
          </p:cNvCxnSpPr>
          <p:nvPr/>
        </p:nvCxnSpPr>
        <p:spPr>
          <a:xfrm>
            <a:off x="2523162" y="4726868"/>
            <a:ext cx="0" cy="360000"/>
          </a:xfrm>
          <a:prstGeom prst="straightConnector1">
            <a:avLst/>
          </a:prstGeom>
          <a:ln>
            <a:solidFill>
              <a:srgbClr val="1A1918"/>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矩形 76">
            <a:extLst>
              <a:ext uri="{FF2B5EF4-FFF2-40B4-BE49-F238E27FC236}">
                <a16:creationId xmlns:a16="http://schemas.microsoft.com/office/drawing/2014/main" id="{29B20C9D-15D5-4F40-BE0C-C1745935B7E1}"/>
              </a:ext>
            </a:extLst>
          </p:cNvPr>
          <p:cNvSpPr/>
          <p:nvPr/>
        </p:nvSpPr>
        <p:spPr>
          <a:xfrm>
            <a:off x="7725792" y="1566218"/>
            <a:ext cx="2575560" cy="624349"/>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400" b="1" dirty="0">
                <a:solidFill>
                  <a:schemeClr val="bg1"/>
                </a:solidFill>
                <a:latin typeface="微软雅黑" panose="020B0503020204020204" pitchFamily="34" charset="-122"/>
                <a:ea typeface="微软雅黑" panose="020B0503020204020204" pitchFamily="34" charset="-122"/>
              </a:rPr>
              <a:t>法国真实世界研究</a:t>
            </a:r>
            <a:r>
              <a:rPr kumimoji="1" lang="en-US" altLang="zh-CN" sz="1400" b="1" baseline="30000" dirty="0">
                <a:solidFill>
                  <a:schemeClr val="bg1"/>
                </a:solidFill>
                <a:latin typeface="微软雅黑" panose="020B0503020204020204" pitchFamily="34" charset="-122"/>
                <a:ea typeface="微软雅黑" panose="020B0503020204020204" pitchFamily="34" charset="-122"/>
              </a:rPr>
              <a:t>2</a:t>
            </a:r>
            <a:r>
              <a:rPr kumimoji="1" lang="zh-CN" altLang="en-US" sz="1400" b="1" dirty="0">
                <a:solidFill>
                  <a:schemeClr val="bg1"/>
                </a:solidFill>
                <a:latin typeface="微软雅黑" panose="020B0503020204020204" pitchFamily="34" charset="-122"/>
                <a:ea typeface="微软雅黑" panose="020B0503020204020204" pitchFamily="34" charset="-122"/>
              </a:rPr>
              <a:t>：</a:t>
            </a:r>
            <a:endParaRPr kumimoji="1" lang="en-US" altLang="zh-CN" sz="1400" b="1" dirty="0">
              <a:solidFill>
                <a:schemeClr val="bg1"/>
              </a:solidFill>
              <a:latin typeface="微软雅黑" panose="020B0503020204020204" pitchFamily="34" charset="-122"/>
              <a:ea typeface="微软雅黑" panose="020B0503020204020204" pitchFamily="34" charset="-122"/>
            </a:endParaRPr>
          </a:p>
          <a:p>
            <a:pPr algn="ctr"/>
            <a:r>
              <a:rPr lang="zh-CN" altLang="en-US" sz="1400" b="1" dirty="0">
                <a:solidFill>
                  <a:schemeClr val="bg1"/>
                </a:solidFill>
                <a:latin typeface="微软雅黑" panose="020B0503020204020204" pitchFamily="34" charset="-122"/>
                <a:ea typeface="微软雅黑" panose="020B0503020204020204" pitchFamily="34" charset="-122"/>
              </a:rPr>
              <a:t>平均发作频率从每月</a:t>
            </a:r>
            <a:r>
              <a:rPr lang="en-US" altLang="zh-CN" sz="1400" b="1" dirty="0">
                <a:solidFill>
                  <a:schemeClr val="bg1"/>
                </a:solidFill>
                <a:latin typeface="微软雅黑" panose="020B0503020204020204" pitchFamily="34" charset="-122"/>
                <a:ea typeface="微软雅黑" panose="020B0503020204020204" pitchFamily="34" charset="-122"/>
              </a:rPr>
              <a:t>2.3</a:t>
            </a:r>
            <a:r>
              <a:rPr lang="zh-CN" altLang="en-US" sz="1400" b="1" dirty="0">
                <a:solidFill>
                  <a:schemeClr val="bg1"/>
                </a:solidFill>
                <a:latin typeface="微软雅黑" panose="020B0503020204020204" pitchFamily="34" charset="-122"/>
                <a:ea typeface="微软雅黑" panose="020B0503020204020204" pitchFamily="34" charset="-122"/>
              </a:rPr>
              <a:t>次降至</a:t>
            </a:r>
            <a:r>
              <a:rPr lang="en-US" altLang="zh-CN" sz="1400" b="1" dirty="0">
                <a:solidFill>
                  <a:schemeClr val="bg1"/>
                </a:solidFill>
                <a:latin typeface="微软雅黑" panose="020B0503020204020204" pitchFamily="34" charset="-122"/>
                <a:ea typeface="微软雅黑" panose="020B0503020204020204" pitchFamily="34" charset="-122"/>
              </a:rPr>
              <a:t>0.1</a:t>
            </a:r>
            <a:r>
              <a:rPr lang="zh-CN" altLang="en-US" sz="1400" b="1" dirty="0">
                <a:solidFill>
                  <a:schemeClr val="bg1"/>
                </a:solidFill>
                <a:latin typeface="微软雅黑" panose="020B0503020204020204" pitchFamily="34" charset="-122"/>
                <a:ea typeface="微软雅黑" panose="020B0503020204020204" pitchFamily="34" charset="-122"/>
              </a:rPr>
              <a:t>次，</a:t>
            </a:r>
            <a:r>
              <a:rPr lang="en-US" altLang="zh-CN" sz="1400" b="1" dirty="0">
                <a:solidFill>
                  <a:schemeClr val="bg1"/>
                </a:solidFill>
                <a:latin typeface="微软雅黑" panose="020B0503020204020204" pitchFamily="34" charset="-122"/>
                <a:ea typeface="微软雅黑" panose="020B0503020204020204" pitchFamily="34" charset="-122"/>
              </a:rPr>
              <a:t>69.6%</a:t>
            </a:r>
            <a:r>
              <a:rPr lang="zh-CN" altLang="en-US" sz="1400" b="1" dirty="0">
                <a:solidFill>
                  <a:schemeClr val="bg1"/>
                </a:solidFill>
                <a:latin typeface="微软雅黑" panose="020B0503020204020204" pitchFamily="34" charset="-122"/>
                <a:ea typeface="微软雅黑" panose="020B0503020204020204" pitchFamily="34" charset="-122"/>
              </a:rPr>
              <a:t>患者无发作</a:t>
            </a:r>
          </a:p>
        </p:txBody>
      </p:sp>
      <p:grpSp>
        <p:nvGrpSpPr>
          <p:cNvPr id="80" name="组合 79">
            <a:extLst>
              <a:ext uri="{FF2B5EF4-FFF2-40B4-BE49-F238E27FC236}">
                <a16:creationId xmlns:a16="http://schemas.microsoft.com/office/drawing/2014/main" id="{7A7FE1A6-2BC2-4D68-B31F-4DD65A26BDE0}"/>
              </a:ext>
            </a:extLst>
          </p:cNvPr>
          <p:cNvGrpSpPr/>
          <p:nvPr/>
        </p:nvGrpSpPr>
        <p:grpSpPr>
          <a:xfrm>
            <a:off x="6840303" y="2668597"/>
            <a:ext cx="2045505" cy="3417565"/>
            <a:chOff x="7652758" y="2568412"/>
            <a:chExt cx="2870661" cy="2998821"/>
          </a:xfrm>
        </p:grpSpPr>
        <p:graphicFrame>
          <p:nvGraphicFramePr>
            <p:cNvPr id="82" name="图表 81">
              <a:extLst>
                <a:ext uri="{FF2B5EF4-FFF2-40B4-BE49-F238E27FC236}">
                  <a16:creationId xmlns:a16="http://schemas.microsoft.com/office/drawing/2014/main" id="{B4685C31-95C5-414D-8A93-3F6374A48194}"/>
                </a:ext>
              </a:extLst>
            </p:cNvPr>
            <p:cNvGraphicFramePr/>
            <p:nvPr>
              <p:extLst>
                <p:ext uri="{D42A27DB-BD31-4B8C-83A1-F6EECF244321}">
                  <p14:modId xmlns:p14="http://schemas.microsoft.com/office/powerpoint/2010/main" val="3533686633"/>
                </p:ext>
              </p:extLst>
            </p:nvPr>
          </p:nvGraphicFramePr>
          <p:xfrm>
            <a:off x="7652758" y="2653562"/>
            <a:ext cx="2870661" cy="2913671"/>
          </p:xfrm>
          <a:graphic>
            <a:graphicData uri="http://schemas.openxmlformats.org/drawingml/2006/chart">
              <c:chart xmlns:c="http://schemas.openxmlformats.org/drawingml/2006/chart" xmlns:r="http://schemas.openxmlformats.org/officeDocument/2006/relationships" r:id="rId9"/>
            </a:graphicData>
          </a:graphic>
        </p:graphicFrame>
        <p:sp>
          <p:nvSpPr>
            <p:cNvPr id="84" name="矩形 83">
              <a:extLst>
                <a:ext uri="{FF2B5EF4-FFF2-40B4-BE49-F238E27FC236}">
                  <a16:creationId xmlns:a16="http://schemas.microsoft.com/office/drawing/2014/main" id="{BDCC290B-1987-4B31-9EBC-9B96C3D3CA50}"/>
                </a:ext>
              </a:extLst>
            </p:cNvPr>
            <p:cNvSpPr/>
            <p:nvPr/>
          </p:nvSpPr>
          <p:spPr>
            <a:xfrm rot="16200000">
              <a:off x="6681429" y="3648272"/>
              <a:ext cx="2507062" cy="396000"/>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050" b="1">
                  <a:solidFill>
                    <a:srgbClr val="1A1918"/>
                  </a:solidFill>
                  <a:latin typeface="微软雅黑" panose="020B0503020204020204" pitchFamily="34" charset="-122"/>
                  <a:ea typeface="微软雅黑" panose="020B0503020204020204" pitchFamily="34" charset="-122"/>
                </a:rPr>
                <a:t>平均发作次数</a:t>
              </a:r>
              <a:r>
                <a:rPr kumimoji="1" lang="en-US" altLang="zh-CN" sz="1050" b="1">
                  <a:solidFill>
                    <a:srgbClr val="1A1918"/>
                  </a:solidFill>
                  <a:latin typeface="微软雅黑" panose="020B0503020204020204" pitchFamily="34" charset="-122"/>
                  <a:ea typeface="微软雅黑" panose="020B0503020204020204" pitchFamily="34" charset="-122"/>
                </a:rPr>
                <a:t>/</a:t>
              </a:r>
              <a:r>
                <a:rPr kumimoji="1" lang="zh-CN" altLang="en-US" sz="1050" b="1">
                  <a:solidFill>
                    <a:srgbClr val="1A1918"/>
                  </a:solidFill>
                  <a:latin typeface="微软雅黑" panose="020B0503020204020204" pitchFamily="34" charset="-122"/>
                  <a:ea typeface="微软雅黑" panose="020B0503020204020204" pitchFamily="34" charset="-122"/>
                </a:rPr>
                <a:t>月</a:t>
              </a:r>
              <a:endParaRPr kumimoji="1" lang="en-US" altLang="zh-CN" sz="1050" b="1">
                <a:solidFill>
                  <a:srgbClr val="1A1918"/>
                </a:solidFill>
                <a:latin typeface="微软雅黑" panose="020B0503020204020204" pitchFamily="34" charset="-122"/>
                <a:ea typeface="微软雅黑" panose="020B0503020204020204" pitchFamily="34" charset="-122"/>
              </a:endParaRPr>
            </a:p>
          </p:txBody>
        </p:sp>
        <p:sp>
          <p:nvSpPr>
            <p:cNvPr id="87" name="矩形 86">
              <a:extLst>
                <a:ext uri="{FF2B5EF4-FFF2-40B4-BE49-F238E27FC236}">
                  <a16:creationId xmlns:a16="http://schemas.microsoft.com/office/drawing/2014/main" id="{24E4675E-2156-4BAF-BEB7-6C6C2B5C0B47}"/>
                </a:ext>
              </a:extLst>
            </p:cNvPr>
            <p:cNvSpPr/>
            <p:nvPr/>
          </p:nvSpPr>
          <p:spPr>
            <a:xfrm>
              <a:off x="8765835" y="2568412"/>
              <a:ext cx="820472" cy="396000"/>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100">
                  <a:solidFill>
                    <a:srgbClr val="1A1918"/>
                  </a:solidFill>
                  <a:latin typeface="微软雅黑" panose="020B0503020204020204" pitchFamily="34" charset="-122"/>
                  <a:ea typeface="微软雅黑" panose="020B0503020204020204" pitchFamily="34" charset="-122"/>
                </a:rPr>
                <a:t>P&lt;0.0001</a:t>
              </a:r>
              <a:endParaRPr kumimoji="1" lang="zh-CN" altLang="en-US" sz="1100">
                <a:solidFill>
                  <a:srgbClr val="1A1918"/>
                </a:solidFill>
                <a:latin typeface="微软雅黑" panose="020B0503020204020204" pitchFamily="34" charset="-122"/>
                <a:ea typeface="微软雅黑" panose="020B0503020204020204" pitchFamily="34" charset="-122"/>
              </a:endParaRPr>
            </a:p>
          </p:txBody>
        </p:sp>
        <p:cxnSp>
          <p:nvCxnSpPr>
            <p:cNvPr id="88" name="连接符: 肘形 87">
              <a:extLst>
                <a:ext uri="{FF2B5EF4-FFF2-40B4-BE49-F238E27FC236}">
                  <a16:creationId xmlns:a16="http://schemas.microsoft.com/office/drawing/2014/main" id="{CCA31417-16C8-4A03-9DFA-7D2F68362B90}"/>
                </a:ext>
              </a:extLst>
            </p:cNvPr>
            <p:cNvCxnSpPr>
              <a:cxnSpLocks/>
            </p:cNvCxnSpPr>
            <p:nvPr/>
          </p:nvCxnSpPr>
          <p:spPr>
            <a:xfrm rot="16200000" flipH="1">
              <a:off x="8684009" y="3173805"/>
              <a:ext cx="942317" cy="1263523"/>
            </a:xfrm>
            <a:prstGeom prst="bentConnector3">
              <a:avLst>
                <a:gd name="adj1" fmla="val -49059"/>
              </a:avLst>
            </a:prstGeom>
            <a:ln/>
          </p:spPr>
          <p:style>
            <a:lnRef idx="1">
              <a:schemeClr val="accent3"/>
            </a:lnRef>
            <a:fillRef idx="0">
              <a:schemeClr val="accent3"/>
            </a:fillRef>
            <a:effectRef idx="0">
              <a:schemeClr val="accent3"/>
            </a:effectRef>
            <a:fontRef idx="minor">
              <a:schemeClr val="tx1"/>
            </a:fontRef>
          </p:style>
        </p:cxnSp>
      </p:grpSp>
      <p:sp>
        <p:nvSpPr>
          <p:cNvPr id="89" name="矩形: 圆角 88">
            <a:extLst>
              <a:ext uri="{FF2B5EF4-FFF2-40B4-BE49-F238E27FC236}">
                <a16:creationId xmlns:a16="http://schemas.microsoft.com/office/drawing/2014/main" id="{B6C61370-0961-4DAE-B80E-FCACC1DC66D9}"/>
              </a:ext>
            </a:extLst>
          </p:cNvPr>
          <p:cNvSpPr/>
          <p:nvPr/>
        </p:nvSpPr>
        <p:spPr>
          <a:xfrm>
            <a:off x="6900302" y="2632780"/>
            <a:ext cx="2101708" cy="3116754"/>
          </a:xfrm>
          <a:prstGeom prst="roundRect">
            <a:avLst>
              <a:gd name="adj" fmla="val 9079"/>
            </a:avLst>
          </a:prstGeom>
          <a:noFill/>
          <a:ln w="19050">
            <a:solidFill>
              <a:schemeClr val="accent2"/>
            </a:solidFill>
            <a:prstDash val="dash"/>
          </a:ln>
        </p:spPr>
        <p:style>
          <a:lnRef idx="1">
            <a:schemeClr val="accent1"/>
          </a:lnRef>
          <a:fillRef idx="0">
            <a:schemeClr val="accent1"/>
          </a:fillRef>
          <a:effectRef idx="0">
            <a:schemeClr val="accent1"/>
          </a:effectRef>
          <a:fontRef idx="minor">
            <a:schemeClr val="tx1"/>
          </a:fontRef>
        </p:style>
        <p:txBody>
          <a:bodyPr wrap="square" rtlCol="0" anchor="t"/>
          <a:lstStyle/>
          <a:p>
            <a:pPr algn="ctr">
              <a:spcAft>
                <a:spcPts val="1200"/>
              </a:spcAft>
            </a:pPr>
            <a:r>
              <a:rPr kumimoji="1" lang="zh-CN" altLang="en-US" sz="1400" b="1" u="sng">
                <a:solidFill>
                  <a:schemeClr val="accent2"/>
                </a:solidFill>
                <a:latin typeface="微软雅黑" panose="020B0503020204020204" pitchFamily="34" charset="-122"/>
                <a:ea typeface="微软雅黑" panose="020B0503020204020204" pitchFamily="34" charset="-122"/>
              </a:rPr>
              <a:t> </a:t>
            </a:r>
            <a:endParaRPr kumimoji="1" lang="en-US" altLang="zh-CN" sz="1200">
              <a:solidFill>
                <a:srgbClr val="1A1918"/>
              </a:solidFill>
              <a:latin typeface="微软雅黑" panose="020B0503020204020204" pitchFamily="34" charset="-122"/>
              <a:ea typeface="微软雅黑" panose="020B0503020204020204" pitchFamily="34" charset="-122"/>
            </a:endParaRPr>
          </a:p>
        </p:txBody>
      </p:sp>
      <p:sp>
        <p:nvSpPr>
          <p:cNvPr id="90" name="矩形: 圆角 89">
            <a:extLst>
              <a:ext uri="{FF2B5EF4-FFF2-40B4-BE49-F238E27FC236}">
                <a16:creationId xmlns:a16="http://schemas.microsoft.com/office/drawing/2014/main" id="{AB335B8A-E33E-4BA1-95F7-09FDA198C883}"/>
              </a:ext>
            </a:extLst>
          </p:cNvPr>
          <p:cNvSpPr/>
          <p:nvPr/>
        </p:nvSpPr>
        <p:spPr>
          <a:xfrm>
            <a:off x="9284618" y="2632780"/>
            <a:ext cx="2010810" cy="3116754"/>
          </a:xfrm>
          <a:prstGeom prst="roundRect">
            <a:avLst>
              <a:gd name="adj" fmla="val 8299"/>
            </a:avLst>
          </a:prstGeom>
          <a:noFill/>
          <a:ln w="19050">
            <a:solidFill>
              <a:schemeClr val="accent2"/>
            </a:solidFill>
            <a:prstDash val="dash"/>
          </a:ln>
        </p:spPr>
        <p:style>
          <a:lnRef idx="1">
            <a:schemeClr val="accent1"/>
          </a:lnRef>
          <a:fillRef idx="0">
            <a:schemeClr val="accent1"/>
          </a:fillRef>
          <a:effectRef idx="0">
            <a:schemeClr val="accent1"/>
          </a:effectRef>
          <a:fontRef idx="minor">
            <a:schemeClr val="tx1"/>
          </a:fontRef>
        </p:style>
        <p:txBody>
          <a:bodyPr wrap="square" rtlCol="0" anchor="t"/>
          <a:lstStyle/>
          <a:p>
            <a:pPr algn="ctr">
              <a:spcAft>
                <a:spcPts val="1200"/>
              </a:spcAft>
            </a:pPr>
            <a:r>
              <a:rPr kumimoji="1" lang="zh-CN" altLang="en-US" sz="1400" b="1" u="sng">
                <a:solidFill>
                  <a:schemeClr val="accent2"/>
                </a:solidFill>
                <a:latin typeface="微软雅黑" panose="020B0503020204020204" pitchFamily="34" charset="-122"/>
                <a:ea typeface="微软雅黑" panose="020B0503020204020204" pitchFamily="34" charset="-122"/>
              </a:rPr>
              <a:t> </a:t>
            </a:r>
            <a:endParaRPr kumimoji="1" lang="en-US" altLang="zh-CN" sz="1200">
              <a:solidFill>
                <a:srgbClr val="1A1918"/>
              </a:solidFill>
              <a:latin typeface="微软雅黑" panose="020B0503020204020204" pitchFamily="34" charset="-122"/>
              <a:ea typeface="微软雅黑" panose="020B0503020204020204" pitchFamily="34" charset="-122"/>
            </a:endParaRPr>
          </a:p>
        </p:txBody>
      </p:sp>
      <p:grpSp>
        <p:nvGrpSpPr>
          <p:cNvPr id="91" name="组合 90">
            <a:extLst>
              <a:ext uri="{FF2B5EF4-FFF2-40B4-BE49-F238E27FC236}">
                <a16:creationId xmlns:a16="http://schemas.microsoft.com/office/drawing/2014/main" id="{D60DCBF6-96E0-420C-823D-9E7E65E44B6C}"/>
              </a:ext>
            </a:extLst>
          </p:cNvPr>
          <p:cNvGrpSpPr/>
          <p:nvPr/>
        </p:nvGrpSpPr>
        <p:grpSpPr>
          <a:xfrm>
            <a:off x="9381541" y="2584100"/>
            <a:ext cx="1576739" cy="3389070"/>
            <a:chOff x="9915894" y="2522015"/>
            <a:chExt cx="1576739" cy="2973817"/>
          </a:xfrm>
        </p:grpSpPr>
        <p:grpSp>
          <p:nvGrpSpPr>
            <p:cNvPr id="92" name="组合 91">
              <a:extLst>
                <a:ext uri="{FF2B5EF4-FFF2-40B4-BE49-F238E27FC236}">
                  <a16:creationId xmlns:a16="http://schemas.microsoft.com/office/drawing/2014/main" id="{DD651264-247C-4E15-BFAE-AF4591EECF01}"/>
                </a:ext>
              </a:extLst>
            </p:cNvPr>
            <p:cNvGrpSpPr/>
            <p:nvPr/>
          </p:nvGrpSpPr>
          <p:grpSpPr>
            <a:xfrm>
              <a:off x="9915894" y="2522015"/>
              <a:ext cx="1576739" cy="2973817"/>
              <a:chOff x="7589559" y="2532595"/>
              <a:chExt cx="3139858" cy="2973817"/>
            </a:xfrm>
          </p:grpSpPr>
          <p:graphicFrame>
            <p:nvGraphicFramePr>
              <p:cNvPr id="94" name="图表 93">
                <a:extLst>
                  <a:ext uri="{FF2B5EF4-FFF2-40B4-BE49-F238E27FC236}">
                    <a16:creationId xmlns:a16="http://schemas.microsoft.com/office/drawing/2014/main" id="{13B6C7B3-1573-4D78-B8DB-628634B8E9DD}"/>
                  </a:ext>
                </a:extLst>
              </p:cNvPr>
              <p:cNvGraphicFramePr/>
              <p:nvPr>
                <p:extLst>
                  <p:ext uri="{D42A27DB-BD31-4B8C-83A1-F6EECF244321}">
                    <p14:modId xmlns:p14="http://schemas.microsoft.com/office/powerpoint/2010/main" val="778009261"/>
                  </p:ext>
                </p:extLst>
              </p:nvPr>
            </p:nvGraphicFramePr>
            <p:xfrm>
              <a:off x="7858755" y="2592741"/>
              <a:ext cx="2870662" cy="2913671"/>
            </p:xfrm>
            <a:graphic>
              <a:graphicData uri="http://schemas.openxmlformats.org/drawingml/2006/chart">
                <c:chart xmlns:c="http://schemas.openxmlformats.org/drawingml/2006/chart" xmlns:r="http://schemas.openxmlformats.org/officeDocument/2006/relationships" r:id="rId10"/>
              </a:graphicData>
            </a:graphic>
          </p:graphicFrame>
          <p:sp>
            <p:nvSpPr>
              <p:cNvPr id="95" name="矩形 94">
                <a:extLst>
                  <a:ext uri="{FF2B5EF4-FFF2-40B4-BE49-F238E27FC236}">
                    <a16:creationId xmlns:a16="http://schemas.microsoft.com/office/drawing/2014/main" id="{7BF633D7-6FB4-43E5-B00D-F1714732ED18}"/>
                  </a:ext>
                </a:extLst>
              </p:cNvPr>
              <p:cNvSpPr/>
              <p:nvPr/>
            </p:nvSpPr>
            <p:spPr>
              <a:xfrm rot="16200000">
                <a:off x="6534028" y="3588126"/>
                <a:ext cx="2507062" cy="396000"/>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050" b="1">
                    <a:solidFill>
                      <a:srgbClr val="1A1918"/>
                    </a:solidFill>
                    <a:latin typeface="微软雅黑" panose="020B0503020204020204" pitchFamily="34" charset="-122"/>
                    <a:ea typeface="微软雅黑" panose="020B0503020204020204" pitchFamily="34" charset="-122"/>
                  </a:rPr>
                  <a:t>无发作患者比例</a:t>
                </a:r>
                <a:endParaRPr kumimoji="1" lang="en-US" altLang="zh-CN" sz="1050" b="1">
                  <a:solidFill>
                    <a:srgbClr val="1A1918"/>
                  </a:solidFill>
                  <a:latin typeface="微软雅黑" panose="020B0503020204020204" pitchFamily="34" charset="-122"/>
                  <a:ea typeface="微软雅黑" panose="020B0503020204020204" pitchFamily="34" charset="-122"/>
                </a:endParaRPr>
              </a:p>
            </p:txBody>
          </p:sp>
        </p:grpSp>
        <p:sp>
          <p:nvSpPr>
            <p:cNvPr id="93" name="矩形 92">
              <a:extLst>
                <a:ext uri="{FF2B5EF4-FFF2-40B4-BE49-F238E27FC236}">
                  <a16:creationId xmlns:a16="http://schemas.microsoft.com/office/drawing/2014/main" id="{99897F58-2A30-41CD-9DBA-3F8B8805E97C}"/>
                </a:ext>
              </a:extLst>
            </p:cNvPr>
            <p:cNvSpPr/>
            <p:nvPr/>
          </p:nvSpPr>
          <p:spPr>
            <a:xfrm>
              <a:off x="10520711" y="4703803"/>
              <a:ext cx="971922" cy="396000"/>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en-US" altLang="zh-CN" sz="1100" dirty="0">
                  <a:solidFill>
                    <a:srgbClr val="1A1918"/>
                  </a:solidFill>
                  <a:latin typeface="微软雅黑" panose="020B0503020204020204" pitchFamily="34" charset="-122"/>
                  <a:ea typeface="微软雅黑" panose="020B0503020204020204" pitchFamily="34" charset="-122"/>
                </a:rPr>
                <a:t>D0</a:t>
              </a:r>
              <a:r>
                <a:rPr kumimoji="1" lang="zh-CN" altLang="en-US" sz="1100" dirty="0">
                  <a:solidFill>
                    <a:srgbClr val="1A1918"/>
                  </a:solidFill>
                  <a:latin typeface="微软雅黑" panose="020B0503020204020204" pitchFamily="34" charset="-122"/>
                  <a:ea typeface="微软雅黑" panose="020B0503020204020204" pitchFamily="34" charset="-122"/>
                </a:rPr>
                <a:t>至末次随访，无发作（</a:t>
              </a:r>
              <a:r>
                <a:rPr kumimoji="1" lang="en-US" altLang="zh-CN" sz="1100" dirty="0">
                  <a:solidFill>
                    <a:srgbClr val="1A1918"/>
                  </a:solidFill>
                  <a:latin typeface="微软雅黑" panose="020B0503020204020204" pitchFamily="34" charset="-122"/>
                  <a:ea typeface="微软雅黑" panose="020B0503020204020204" pitchFamily="34" charset="-122"/>
                </a:rPr>
                <a:t>n=69)</a:t>
              </a:r>
              <a:endParaRPr kumimoji="1" lang="zh-CN" altLang="en-US" sz="1100" dirty="0">
                <a:solidFill>
                  <a:srgbClr val="1A1918"/>
                </a:solidFill>
                <a:latin typeface="微软雅黑" panose="020B0503020204020204" pitchFamily="34" charset="-122"/>
                <a:ea typeface="微软雅黑" panose="020B0503020204020204" pitchFamily="34" charset="-122"/>
              </a:endParaRPr>
            </a:p>
          </p:txBody>
        </p:sp>
      </p:grpSp>
      <p:sp>
        <p:nvSpPr>
          <p:cNvPr id="96" name="矩形 95">
            <a:extLst>
              <a:ext uri="{FF2B5EF4-FFF2-40B4-BE49-F238E27FC236}">
                <a16:creationId xmlns:a16="http://schemas.microsoft.com/office/drawing/2014/main" id="{A4FDCB71-15E5-42BA-BCB5-4EF09D4267A6}"/>
              </a:ext>
            </a:extLst>
          </p:cNvPr>
          <p:cNvSpPr/>
          <p:nvPr/>
        </p:nvSpPr>
        <p:spPr>
          <a:xfrm>
            <a:off x="10750515" y="3681188"/>
            <a:ext cx="604818" cy="389513"/>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en-US" altLang="zh-CN" sz="900" dirty="0">
                <a:solidFill>
                  <a:srgbClr val="1A1918"/>
                </a:solidFill>
                <a:latin typeface="微软雅黑" panose="020B0503020204020204" pitchFamily="34" charset="-122"/>
                <a:ea typeface="微软雅黑" panose="020B0503020204020204" pitchFamily="34" charset="-122"/>
              </a:rPr>
              <a:t>n=69</a:t>
            </a:r>
            <a:r>
              <a:rPr kumimoji="1" lang="zh-CN" altLang="en-US" sz="900" dirty="0">
                <a:solidFill>
                  <a:srgbClr val="1A1918"/>
                </a:solidFill>
                <a:latin typeface="微软雅黑" panose="020B0503020204020204" pitchFamily="34" charset="-122"/>
                <a:ea typeface="微软雅黑" panose="020B0503020204020204" pitchFamily="34" charset="-122"/>
              </a:rPr>
              <a:t>，随访期：</a:t>
            </a:r>
            <a:r>
              <a:rPr kumimoji="1" lang="en-US" altLang="zh-CN" sz="900" dirty="0">
                <a:solidFill>
                  <a:srgbClr val="1A1918"/>
                </a:solidFill>
                <a:latin typeface="微软雅黑" panose="020B0503020204020204" pitchFamily="34" charset="-122"/>
                <a:ea typeface="微软雅黑" panose="020B0503020204020204" pitchFamily="34" charset="-122"/>
              </a:rPr>
              <a:t>6</a:t>
            </a:r>
            <a:r>
              <a:rPr kumimoji="1" lang="zh-CN" altLang="en-US" sz="900" dirty="0">
                <a:solidFill>
                  <a:srgbClr val="1A1918"/>
                </a:solidFill>
                <a:latin typeface="微软雅黑" panose="020B0503020204020204" pitchFamily="34" charset="-122"/>
                <a:ea typeface="微软雅黑" panose="020B0503020204020204" pitchFamily="34" charset="-122"/>
              </a:rPr>
              <a:t>个月</a:t>
            </a:r>
          </a:p>
        </p:txBody>
      </p:sp>
      <p:sp>
        <p:nvSpPr>
          <p:cNvPr id="97" name="矩形 96">
            <a:extLst>
              <a:ext uri="{FF2B5EF4-FFF2-40B4-BE49-F238E27FC236}">
                <a16:creationId xmlns:a16="http://schemas.microsoft.com/office/drawing/2014/main" id="{154EBDD9-EAF0-4287-9FA8-DCB6FBFC55C0}"/>
              </a:ext>
            </a:extLst>
          </p:cNvPr>
          <p:cNvSpPr/>
          <p:nvPr/>
        </p:nvSpPr>
        <p:spPr>
          <a:xfrm>
            <a:off x="7012483" y="5416758"/>
            <a:ext cx="1897838" cy="280786"/>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square" rtlCol="0" anchor="ctr"/>
          <a:lstStyle/>
          <a:p>
            <a:r>
              <a:rPr kumimoji="1" lang="en-US" altLang="zh-CN" sz="900" dirty="0">
                <a:solidFill>
                  <a:srgbClr val="1A1918"/>
                </a:solidFill>
                <a:latin typeface="微软雅黑" panose="020B0503020204020204" pitchFamily="34" charset="-122"/>
                <a:ea typeface="微软雅黑" panose="020B0503020204020204" pitchFamily="34" charset="-122"/>
              </a:rPr>
              <a:t>*D0</a:t>
            </a:r>
            <a:r>
              <a:rPr kumimoji="1" lang="zh-CN" altLang="en-US" sz="900" dirty="0">
                <a:solidFill>
                  <a:srgbClr val="1A1918"/>
                </a:solidFill>
                <a:latin typeface="微软雅黑" panose="020B0503020204020204" pitchFamily="34" charset="-122"/>
                <a:ea typeface="微软雅黑" panose="020B0503020204020204" pitchFamily="34" charset="-122"/>
              </a:rPr>
              <a:t>：启动拉那利尤单抗治疗时间</a:t>
            </a:r>
          </a:p>
        </p:txBody>
      </p:sp>
      <p:sp>
        <p:nvSpPr>
          <p:cNvPr id="98" name="矩形 97">
            <a:extLst>
              <a:ext uri="{FF2B5EF4-FFF2-40B4-BE49-F238E27FC236}">
                <a16:creationId xmlns:a16="http://schemas.microsoft.com/office/drawing/2014/main" id="{D6E608AB-96EE-4000-9FF9-BB1391ED32E9}"/>
              </a:ext>
            </a:extLst>
          </p:cNvPr>
          <p:cNvSpPr/>
          <p:nvPr/>
        </p:nvSpPr>
        <p:spPr>
          <a:xfrm>
            <a:off x="8467291" y="3681188"/>
            <a:ext cx="604818" cy="389513"/>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en-US" altLang="zh-CN" sz="900" dirty="0">
                <a:solidFill>
                  <a:srgbClr val="1A1918"/>
                </a:solidFill>
                <a:latin typeface="微软雅黑" panose="020B0503020204020204" pitchFamily="34" charset="-122"/>
                <a:ea typeface="微软雅黑" panose="020B0503020204020204" pitchFamily="34" charset="-122"/>
              </a:rPr>
              <a:t>n=69</a:t>
            </a:r>
            <a:r>
              <a:rPr kumimoji="1" lang="zh-CN" altLang="en-US" sz="900" dirty="0">
                <a:solidFill>
                  <a:srgbClr val="1A1918"/>
                </a:solidFill>
                <a:latin typeface="微软雅黑" panose="020B0503020204020204" pitchFamily="34" charset="-122"/>
                <a:ea typeface="微软雅黑" panose="020B0503020204020204" pitchFamily="34" charset="-122"/>
              </a:rPr>
              <a:t>，随访期：</a:t>
            </a:r>
            <a:r>
              <a:rPr kumimoji="1" lang="en-US" altLang="zh-CN" sz="900" dirty="0">
                <a:solidFill>
                  <a:srgbClr val="1A1918"/>
                </a:solidFill>
                <a:latin typeface="微软雅黑" panose="020B0503020204020204" pitchFamily="34" charset="-122"/>
                <a:ea typeface="微软雅黑" panose="020B0503020204020204" pitchFamily="34" charset="-122"/>
              </a:rPr>
              <a:t>6</a:t>
            </a:r>
            <a:r>
              <a:rPr kumimoji="1" lang="zh-CN" altLang="en-US" sz="900" dirty="0">
                <a:solidFill>
                  <a:srgbClr val="1A1918"/>
                </a:solidFill>
                <a:latin typeface="微软雅黑" panose="020B0503020204020204" pitchFamily="34" charset="-122"/>
                <a:ea typeface="微软雅黑" panose="020B0503020204020204" pitchFamily="34" charset="-122"/>
              </a:rPr>
              <a:t>个月</a:t>
            </a:r>
          </a:p>
        </p:txBody>
      </p:sp>
      <p:sp>
        <p:nvSpPr>
          <p:cNvPr id="45" name="文本框 44">
            <a:extLst>
              <a:ext uri="{FF2B5EF4-FFF2-40B4-BE49-F238E27FC236}">
                <a16:creationId xmlns:a16="http://schemas.microsoft.com/office/drawing/2014/main" id="{2F60CB23-768C-4493-B60E-90D48B899417}"/>
              </a:ext>
            </a:extLst>
          </p:cNvPr>
          <p:cNvSpPr txBox="1"/>
          <p:nvPr/>
        </p:nvSpPr>
        <p:spPr>
          <a:xfrm>
            <a:off x="579773" y="6483798"/>
            <a:ext cx="11312189" cy="400110"/>
          </a:xfrm>
          <a:prstGeom prst="rect">
            <a:avLst/>
          </a:prstGeom>
          <a:noFill/>
        </p:spPr>
        <p:txBody>
          <a:bodyPr wrap="square">
            <a:spAutoFit/>
          </a:bodyPr>
          <a:lstStyle>
            <a:defPPr>
              <a:defRPr lang="en-US"/>
            </a:defPPr>
            <a:lvl1pPr>
              <a:defRPr kumimoji="1" sz="1000">
                <a:solidFill>
                  <a:srgbClr val="1A1918"/>
                </a:solidFill>
                <a:latin typeface="微软雅黑" panose="020B0503020204020204" pitchFamily="34" charset="-122"/>
                <a:ea typeface="微软雅黑" panose="020B0503020204020204" pitchFamily="34" charset="-122"/>
              </a:defRPr>
            </a:lvl1pPr>
          </a:lstStyle>
          <a:p>
            <a:r>
              <a:rPr lang="zh-CN" altLang="en-US" dirty="0"/>
              <a:t>参考文献：</a:t>
            </a:r>
            <a:r>
              <a:rPr lang="en-US" altLang="zh-CN" dirty="0"/>
              <a:t>1. </a:t>
            </a:r>
            <a:r>
              <a:rPr lang="it-IT" altLang="zh-CN" dirty="0" err="1"/>
              <a:t>Banerji</a:t>
            </a:r>
            <a:r>
              <a:rPr lang="it-IT" altLang="zh-CN" dirty="0"/>
              <a:t> A, et al. JAMA 2018;320:2108‒2121.</a:t>
            </a:r>
            <a:r>
              <a:rPr lang="zh-CN" altLang="en-US" dirty="0"/>
              <a:t>；</a:t>
            </a:r>
            <a:r>
              <a:rPr lang="en-US" altLang="zh-CN" dirty="0"/>
              <a:t>2.</a:t>
            </a:r>
            <a:r>
              <a:rPr lang="fr-FR" altLang="zh-CN" dirty="0"/>
              <a:t> Bouillet L, et al. 2020 EAACI Abstract 1285.</a:t>
            </a:r>
            <a:r>
              <a:rPr lang="en-US" altLang="zh-CN" dirty="0"/>
              <a:t> </a:t>
            </a:r>
            <a:endParaRPr lang="zh-CN" altLang="en-US" dirty="0"/>
          </a:p>
          <a:p>
            <a:endParaRPr lang="zh-CN" altLang="en-US" dirty="0"/>
          </a:p>
        </p:txBody>
      </p:sp>
    </p:spTree>
    <p:extLst>
      <p:ext uri="{BB962C8B-B14F-4D97-AF65-F5344CB8AC3E}">
        <p14:creationId xmlns:p14="http://schemas.microsoft.com/office/powerpoint/2010/main" val="40218318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a:xfrm>
            <a:off x="1038225" y="209230"/>
            <a:ext cx="9508106" cy="685801"/>
          </a:xfrm>
        </p:spPr>
        <p:txBody>
          <a:bodyPr>
            <a:normAutofit/>
          </a:bodyPr>
          <a:lstStyle/>
          <a:p>
            <a:r>
              <a:rPr lang="zh-CN" altLang="en-US" sz="3200">
                <a:solidFill>
                  <a:srgbClr val="1A1918"/>
                </a:solidFill>
                <a:latin typeface="微软雅黑" panose="020B0503020204020204" pitchFamily="34" charset="-122"/>
                <a:ea typeface="微软雅黑" panose="020B0503020204020204" pitchFamily="34" charset="-122"/>
              </a:rPr>
              <a:t>有效性</a:t>
            </a:r>
          </a:p>
        </p:txBody>
      </p:sp>
      <p:sp>
        <p:nvSpPr>
          <p:cNvPr id="22" name="椭圆 21">
            <a:extLst>
              <a:ext uri="{FF2B5EF4-FFF2-40B4-BE49-F238E27FC236}">
                <a16:creationId xmlns:a16="http://schemas.microsoft.com/office/drawing/2014/main" id="{5F530736-32AD-42C7-B3FC-79FE10B74A3A}"/>
              </a:ext>
            </a:extLst>
          </p:cNvPr>
          <p:cNvSpPr/>
          <p:nvPr/>
        </p:nvSpPr>
        <p:spPr>
          <a:xfrm>
            <a:off x="616186" y="315174"/>
            <a:ext cx="360000" cy="360000"/>
          </a:xfrm>
          <a:prstGeom prst="ellipse">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a:solidFill>
                  <a:schemeClr val="bg1"/>
                </a:solidFill>
                <a:latin typeface="微软雅黑" panose="020B0503020204020204" pitchFamily="34" charset="-122"/>
                <a:ea typeface="微软雅黑" panose="020B0503020204020204" pitchFamily="34" charset="-122"/>
              </a:rPr>
              <a:t>3</a:t>
            </a:r>
            <a:endParaRPr kumimoji="1" lang="zh-CN" altLang="en-US" sz="1600" b="1">
              <a:solidFill>
                <a:schemeClr val="bg1"/>
              </a:solidFill>
              <a:latin typeface="微软雅黑" panose="020B0503020204020204" pitchFamily="34" charset="-122"/>
              <a:ea typeface="微软雅黑" panose="020B0503020204020204" pitchFamily="34" charset="-122"/>
            </a:endParaRPr>
          </a:p>
        </p:txBody>
      </p:sp>
      <p:sp>
        <p:nvSpPr>
          <p:cNvPr id="15" name="Text Placeholder 5">
            <a:extLst>
              <a:ext uri="{FF2B5EF4-FFF2-40B4-BE49-F238E27FC236}">
                <a16:creationId xmlns:a16="http://schemas.microsoft.com/office/drawing/2014/main" id="{B3732146-12B2-4F63-8D34-E17C53F16CFA}"/>
              </a:ext>
            </a:extLst>
          </p:cNvPr>
          <p:cNvSpPr txBox="1">
            <a:spLocks/>
          </p:cNvSpPr>
          <p:nvPr/>
        </p:nvSpPr>
        <p:spPr>
          <a:xfrm>
            <a:off x="1038224" y="817217"/>
            <a:ext cx="10853739" cy="376802"/>
          </a:xfrm>
          <a:prstGeom prst="rect">
            <a:avLst/>
          </a:prstGeom>
        </p:spPr>
        <p:txBody>
          <a:bodyP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zh-CN" sz="1800" b="1" dirty="0">
                <a:solidFill>
                  <a:srgbClr val="1A1918"/>
                </a:solidFill>
                <a:latin typeface="微软雅黑" panose="020B0503020204020204" pitchFamily="34" charset="-122"/>
                <a:ea typeface="微软雅黑" panose="020B0503020204020204" pitchFamily="34" charset="-122"/>
              </a:rPr>
              <a:t>——</a:t>
            </a:r>
            <a:r>
              <a:rPr lang="zh-CN" altLang="en-US" sz="1800" b="1" dirty="0">
                <a:solidFill>
                  <a:srgbClr val="1A1918"/>
                </a:solidFill>
                <a:latin typeface="微软雅黑" panose="020B0503020204020204" pitchFamily="34" charset="-122"/>
                <a:ea typeface="微软雅黑" panose="020B0503020204020204" pitchFamily="34" charset="-122"/>
              </a:rPr>
              <a:t>国内外权威指南均推荐拉那利尤单抗是长期治疗一线用药，推荐级别为强烈推荐（最高级）</a:t>
            </a:r>
          </a:p>
        </p:txBody>
      </p:sp>
      <p:sp>
        <p:nvSpPr>
          <p:cNvPr id="24" name="文本框 23">
            <a:extLst>
              <a:ext uri="{FF2B5EF4-FFF2-40B4-BE49-F238E27FC236}">
                <a16:creationId xmlns:a16="http://schemas.microsoft.com/office/drawing/2014/main" id="{B98F0CDD-7ECE-44CB-9C1B-8CF8CFEB6F7C}"/>
              </a:ext>
            </a:extLst>
          </p:cNvPr>
          <p:cNvSpPr txBox="1"/>
          <p:nvPr/>
        </p:nvSpPr>
        <p:spPr>
          <a:xfrm>
            <a:off x="579773" y="6483798"/>
            <a:ext cx="11312189" cy="553998"/>
          </a:xfrm>
          <a:prstGeom prst="rect">
            <a:avLst/>
          </a:prstGeom>
          <a:noFill/>
        </p:spPr>
        <p:txBody>
          <a:bodyPr wrap="square">
            <a:spAutoFit/>
          </a:bodyPr>
          <a:lstStyle>
            <a:defPPr>
              <a:defRPr lang="en-US"/>
            </a:defPPr>
            <a:lvl1pPr>
              <a:defRPr kumimoji="1" sz="1000">
                <a:solidFill>
                  <a:srgbClr val="1A1918"/>
                </a:solidFill>
                <a:latin typeface="微软雅黑" panose="020B0503020204020204" pitchFamily="34" charset="-122"/>
                <a:ea typeface="微软雅黑" panose="020B0503020204020204" pitchFamily="34" charset="-122"/>
              </a:defRPr>
            </a:lvl1pPr>
          </a:lstStyle>
          <a:p>
            <a:r>
              <a:rPr lang="zh-CN" altLang="en-US" dirty="0"/>
              <a:t>参考文献：</a:t>
            </a:r>
            <a:r>
              <a:rPr lang="en-US" altLang="zh-CN" dirty="0"/>
              <a:t>《</a:t>
            </a:r>
            <a:r>
              <a:rPr lang="zh-CN" altLang="en-US" dirty="0"/>
              <a:t>遗传性血管性水肿的诊断和治疗专家共识</a:t>
            </a:r>
            <a:r>
              <a:rPr lang="en-US" altLang="zh-CN" dirty="0"/>
              <a:t>》</a:t>
            </a:r>
            <a:r>
              <a:rPr lang="zh-CN" altLang="en-US" dirty="0"/>
              <a:t>；</a:t>
            </a:r>
            <a:r>
              <a:rPr lang="en-US" altLang="zh-CN" dirty="0"/>
              <a:t>《2020</a:t>
            </a:r>
            <a:r>
              <a:rPr lang="zh-CN" altLang="en-US" dirty="0"/>
              <a:t>年美国</a:t>
            </a:r>
            <a:r>
              <a:rPr lang="en-US" altLang="zh-CN" dirty="0"/>
              <a:t>HAEA</a:t>
            </a:r>
            <a:r>
              <a:rPr lang="zh-CN" altLang="en-US" dirty="0"/>
              <a:t>医疗咨询委员会遗传性血管性水肿治疗指南</a:t>
            </a:r>
            <a:r>
              <a:rPr lang="en-US" altLang="zh-CN" dirty="0"/>
              <a:t>》</a:t>
            </a:r>
            <a:r>
              <a:rPr lang="zh-CN" altLang="en-US" dirty="0"/>
              <a:t>；</a:t>
            </a:r>
            <a:r>
              <a:rPr lang="en-US" altLang="zh-CN" dirty="0"/>
              <a:t>《</a:t>
            </a:r>
            <a:r>
              <a:rPr lang="zh-CN" altLang="en-US" dirty="0"/>
              <a:t>国际</a:t>
            </a:r>
            <a:r>
              <a:rPr lang="en-US" altLang="zh-CN" dirty="0"/>
              <a:t>/</a:t>
            </a:r>
            <a:r>
              <a:rPr lang="zh-CN" altLang="en-US" dirty="0"/>
              <a:t>加拿大遗传性血管水肿指南</a:t>
            </a:r>
            <a:r>
              <a:rPr lang="en-US" altLang="zh-CN" dirty="0"/>
              <a:t>》</a:t>
            </a:r>
            <a:r>
              <a:rPr lang="zh-CN" altLang="en-US" dirty="0"/>
              <a:t>；</a:t>
            </a:r>
            <a:r>
              <a:rPr lang="en-US" altLang="zh-CN" dirty="0"/>
              <a:t>《</a:t>
            </a:r>
            <a:r>
              <a:rPr lang="zh-CN" altLang="en-US" dirty="0"/>
              <a:t>国际</a:t>
            </a:r>
            <a:r>
              <a:rPr lang="en-US" altLang="zh-CN" dirty="0"/>
              <a:t>WAO/EAACI</a:t>
            </a:r>
            <a:r>
              <a:rPr lang="zh-CN" altLang="en-US" dirty="0"/>
              <a:t>遗传性血管性水肿管理指南</a:t>
            </a:r>
            <a:r>
              <a:rPr lang="en-US" altLang="zh-CN" dirty="0"/>
              <a:t>-2021</a:t>
            </a:r>
            <a:r>
              <a:rPr lang="zh-CN" altLang="en-US" dirty="0"/>
              <a:t>年修订和更新</a:t>
            </a:r>
            <a:r>
              <a:rPr lang="en-US" altLang="zh-CN" dirty="0"/>
              <a:t>》</a:t>
            </a:r>
            <a:r>
              <a:rPr lang="zh-CN" altLang="en-US" dirty="0"/>
              <a:t>；拉那利尤单抗注射液申请上市技术评审报告</a:t>
            </a:r>
            <a:endParaRPr lang="en-US" altLang="zh-CN" dirty="0"/>
          </a:p>
          <a:p>
            <a:endParaRPr lang="zh-CN" altLang="en-US" dirty="0"/>
          </a:p>
        </p:txBody>
      </p:sp>
      <p:sp>
        <p:nvSpPr>
          <p:cNvPr id="60" name="矩形: 圆角 59">
            <a:extLst>
              <a:ext uri="{FF2B5EF4-FFF2-40B4-BE49-F238E27FC236}">
                <a16:creationId xmlns:a16="http://schemas.microsoft.com/office/drawing/2014/main" id="{6EFC41F3-34AA-4983-B794-8B001BB573FF}"/>
              </a:ext>
            </a:extLst>
          </p:cNvPr>
          <p:cNvSpPr/>
          <p:nvPr/>
        </p:nvSpPr>
        <p:spPr>
          <a:xfrm>
            <a:off x="2138362" y="2462405"/>
            <a:ext cx="1972487" cy="603942"/>
          </a:xfrm>
          <a:prstGeom prst="roundRect">
            <a:avLst/>
          </a:prstGeom>
          <a:solidFill>
            <a:schemeClr val="accent1">
              <a:lumMod val="20000"/>
              <a:lumOff val="80000"/>
            </a:schemeClr>
          </a:solidFill>
          <a:ln w="19050">
            <a:noFill/>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en-US" altLang="zh-CN" sz="1200" b="1">
                <a:solidFill>
                  <a:srgbClr val="1A1918"/>
                </a:solidFill>
                <a:latin typeface="微软雅黑" panose="020B0503020204020204" pitchFamily="34" charset="-122"/>
                <a:ea typeface="微软雅黑" panose="020B0503020204020204" pitchFamily="34" charset="-122"/>
              </a:rPr>
              <a:t>《</a:t>
            </a:r>
            <a:r>
              <a:rPr kumimoji="1" lang="zh-CN" altLang="en-US" sz="1200" b="1">
                <a:solidFill>
                  <a:srgbClr val="1A1918"/>
                </a:solidFill>
                <a:latin typeface="微软雅黑" panose="020B0503020204020204" pitchFamily="34" charset="-122"/>
                <a:ea typeface="微软雅黑" panose="020B0503020204020204" pitchFamily="34" charset="-122"/>
              </a:rPr>
              <a:t>国际</a:t>
            </a:r>
            <a:r>
              <a:rPr kumimoji="1" lang="en-US" altLang="zh-CN" sz="1200" b="1">
                <a:solidFill>
                  <a:srgbClr val="1A1918"/>
                </a:solidFill>
                <a:latin typeface="微软雅黑" panose="020B0503020204020204" pitchFamily="34" charset="-122"/>
                <a:ea typeface="微软雅黑" panose="020B0503020204020204" pitchFamily="34" charset="-122"/>
              </a:rPr>
              <a:t>/</a:t>
            </a:r>
            <a:r>
              <a:rPr kumimoji="1" lang="zh-CN" altLang="en-US" sz="1200" b="1">
                <a:solidFill>
                  <a:srgbClr val="1A1918"/>
                </a:solidFill>
                <a:latin typeface="微软雅黑" panose="020B0503020204020204" pitchFamily="34" charset="-122"/>
                <a:ea typeface="微软雅黑" panose="020B0503020204020204" pitchFamily="34" charset="-122"/>
              </a:rPr>
              <a:t>加拿大遗传性血管水肿指南</a:t>
            </a:r>
            <a:r>
              <a:rPr kumimoji="1" lang="en-US" altLang="zh-CN" sz="1200" b="1">
                <a:solidFill>
                  <a:srgbClr val="1A1918"/>
                </a:solidFill>
                <a:latin typeface="微软雅黑" panose="020B0503020204020204" pitchFamily="34" charset="-122"/>
                <a:ea typeface="微软雅黑" panose="020B0503020204020204" pitchFamily="34" charset="-122"/>
              </a:rPr>
              <a:t>》</a:t>
            </a:r>
          </a:p>
        </p:txBody>
      </p:sp>
      <p:sp>
        <p:nvSpPr>
          <p:cNvPr id="61" name="矩形: 圆角 60">
            <a:extLst>
              <a:ext uri="{FF2B5EF4-FFF2-40B4-BE49-F238E27FC236}">
                <a16:creationId xmlns:a16="http://schemas.microsoft.com/office/drawing/2014/main" id="{C7E682CA-0FDC-4BFD-8957-9AAAB70E121A}"/>
              </a:ext>
            </a:extLst>
          </p:cNvPr>
          <p:cNvSpPr/>
          <p:nvPr/>
        </p:nvSpPr>
        <p:spPr>
          <a:xfrm>
            <a:off x="2138362" y="1741837"/>
            <a:ext cx="1972487" cy="603942"/>
          </a:xfrm>
          <a:prstGeom prst="roundRect">
            <a:avLst/>
          </a:prstGeom>
          <a:solidFill>
            <a:schemeClr val="accent1">
              <a:lumMod val="20000"/>
              <a:lumOff val="80000"/>
            </a:schemeClr>
          </a:solidFill>
          <a:ln w="19050">
            <a:noFill/>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zh-CN" altLang="en-US" sz="1200" b="1">
                <a:solidFill>
                  <a:schemeClr val="accent2"/>
                </a:solidFill>
                <a:latin typeface="微软雅黑" panose="020B0503020204020204" pitchFamily="34" charset="-122"/>
                <a:ea typeface="微软雅黑" panose="020B0503020204020204" pitchFamily="34" charset="-122"/>
              </a:rPr>
              <a:t>中国</a:t>
            </a:r>
            <a:r>
              <a:rPr kumimoji="1" lang="en-US" altLang="zh-CN" sz="1200" b="1">
                <a:solidFill>
                  <a:schemeClr val="accent2"/>
                </a:solidFill>
                <a:latin typeface="微软雅黑" panose="020B0503020204020204" pitchFamily="34" charset="-122"/>
                <a:ea typeface="微软雅黑" panose="020B0503020204020204" pitchFamily="34" charset="-122"/>
              </a:rPr>
              <a:t>《</a:t>
            </a:r>
            <a:r>
              <a:rPr kumimoji="1" lang="zh-CN" altLang="en-US" sz="1200" b="1">
                <a:solidFill>
                  <a:schemeClr val="accent2"/>
                </a:solidFill>
                <a:latin typeface="微软雅黑" panose="020B0503020204020204" pitchFamily="34" charset="-122"/>
                <a:ea typeface="微软雅黑" panose="020B0503020204020204" pitchFamily="34" charset="-122"/>
              </a:rPr>
              <a:t>遗传性血管性水肿的诊断和治疗专家共识</a:t>
            </a:r>
            <a:r>
              <a:rPr kumimoji="1" lang="en-US" altLang="zh-CN" sz="1200" b="1">
                <a:solidFill>
                  <a:schemeClr val="accent2"/>
                </a:solidFill>
                <a:latin typeface="微软雅黑" panose="020B0503020204020204" pitchFamily="34" charset="-122"/>
                <a:ea typeface="微软雅黑" panose="020B0503020204020204" pitchFamily="34" charset="-122"/>
              </a:rPr>
              <a:t>》</a:t>
            </a:r>
          </a:p>
        </p:txBody>
      </p:sp>
      <p:sp>
        <p:nvSpPr>
          <p:cNvPr id="62" name="矩形: 圆角 61">
            <a:extLst>
              <a:ext uri="{FF2B5EF4-FFF2-40B4-BE49-F238E27FC236}">
                <a16:creationId xmlns:a16="http://schemas.microsoft.com/office/drawing/2014/main" id="{C48C0B5D-9156-460E-A4A2-B439526168F0}"/>
              </a:ext>
            </a:extLst>
          </p:cNvPr>
          <p:cNvSpPr/>
          <p:nvPr/>
        </p:nvSpPr>
        <p:spPr>
          <a:xfrm>
            <a:off x="4181634" y="2462405"/>
            <a:ext cx="919656" cy="603942"/>
          </a:xfrm>
          <a:prstGeom prst="roundRect">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en-US" altLang="zh-CN" sz="1200">
                <a:solidFill>
                  <a:srgbClr val="1A1918"/>
                </a:solidFill>
                <a:latin typeface="微软雅黑" panose="020B0503020204020204" pitchFamily="34" charset="-122"/>
                <a:ea typeface="微软雅黑" panose="020B0503020204020204" pitchFamily="34" charset="-122"/>
              </a:rPr>
              <a:t>2019</a:t>
            </a:r>
            <a:r>
              <a:rPr kumimoji="1" lang="zh-CN" altLang="en-US" sz="1200">
                <a:solidFill>
                  <a:srgbClr val="1A1918"/>
                </a:solidFill>
                <a:latin typeface="微软雅黑" panose="020B0503020204020204" pitchFamily="34" charset="-122"/>
                <a:ea typeface="微软雅黑" panose="020B0503020204020204" pitchFamily="34" charset="-122"/>
              </a:rPr>
              <a:t>年</a:t>
            </a:r>
            <a:endParaRPr kumimoji="1" lang="en-US" altLang="zh-CN" sz="1200">
              <a:solidFill>
                <a:srgbClr val="1A1918"/>
              </a:solidFill>
              <a:latin typeface="微软雅黑" panose="020B0503020204020204" pitchFamily="34" charset="-122"/>
              <a:ea typeface="微软雅黑" panose="020B0503020204020204" pitchFamily="34" charset="-122"/>
            </a:endParaRPr>
          </a:p>
        </p:txBody>
      </p:sp>
      <p:sp>
        <p:nvSpPr>
          <p:cNvPr id="63" name="矩形: 圆角 62">
            <a:extLst>
              <a:ext uri="{FF2B5EF4-FFF2-40B4-BE49-F238E27FC236}">
                <a16:creationId xmlns:a16="http://schemas.microsoft.com/office/drawing/2014/main" id="{979803C8-C694-4B9C-96BC-0278658A00A6}"/>
              </a:ext>
            </a:extLst>
          </p:cNvPr>
          <p:cNvSpPr/>
          <p:nvPr/>
        </p:nvSpPr>
        <p:spPr>
          <a:xfrm>
            <a:off x="4181634" y="1741837"/>
            <a:ext cx="919656" cy="603942"/>
          </a:xfrm>
          <a:prstGeom prst="roundRect">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en-US" altLang="zh-CN" sz="1200">
                <a:solidFill>
                  <a:srgbClr val="1A1918"/>
                </a:solidFill>
                <a:latin typeface="微软雅黑" panose="020B0503020204020204" pitchFamily="34" charset="-122"/>
                <a:ea typeface="微软雅黑" panose="020B0503020204020204" pitchFamily="34" charset="-122"/>
              </a:rPr>
              <a:t>2019</a:t>
            </a:r>
            <a:r>
              <a:rPr kumimoji="1" lang="zh-CN" altLang="en-US" sz="1200">
                <a:solidFill>
                  <a:srgbClr val="1A1918"/>
                </a:solidFill>
                <a:latin typeface="微软雅黑" panose="020B0503020204020204" pitchFamily="34" charset="-122"/>
                <a:ea typeface="微软雅黑" panose="020B0503020204020204" pitchFamily="34" charset="-122"/>
              </a:rPr>
              <a:t>年</a:t>
            </a:r>
            <a:endParaRPr kumimoji="1" lang="en-US" altLang="zh-CN" sz="1200">
              <a:solidFill>
                <a:srgbClr val="1A1918"/>
              </a:solidFill>
              <a:latin typeface="微软雅黑" panose="020B0503020204020204" pitchFamily="34" charset="-122"/>
              <a:ea typeface="微软雅黑" panose="020B0503020204020204" pitchFamily="34" charset="-122"/>
            </a:endParaRPr>
          </a:p>
        </p:txBody>
      </p:sp>
      <p:sp>
        <p:nvSpPr>
          <p:cNvPr id="64" name="矩形: 圆角 63">
            <a:extLst>
              <a:ext uri="{FF2B5EF4-FFF2-40B4-BE49-F238E27FC236}">
                <a16:creationId xmlns:a16="http://schemas.microsoft.com/office/drawing/2014/main" id="{ECBEBC8B-8E4A-462F-8DDE-73A686F4B534}"/>
              </a:ext>
            </a:extLst>
          </p:cNvPr>
          <p:cNvSpPr/>
          <p:nvPr/>
        </p:nvSpPr>
        <p:spPr>
          <a:xfrm>
            <a:off x="5172075" y="2461921"/>
            <a:ext cx="3076531" cy="1325480"/>
          </a:xfrm>
          <a:prstGeom prst="roundRect">
            <a:avLst>
              <a:gd name="adj" fmla="val 10452"/>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marL="171450" indent="-171450">
              <a:buFont typeface="Arial" panose="020B0604020202020204" pitchFamily="34" charset="0"/>
              <a:buChar char="•"/>
            </a:pPr>
            <a:r>
              <a:rPr kumimoji="1" lang="zh-CN" altLang="en-US" sz="1200">
                <a:solidFill>
                  <a:srgbClr val="1A1918"/>
                </a:solidFill>
                <a:latin typeface="微软雅黑" panose="020B0503020204020204" pitchFamily="34" charset="-122"/>
                <a:ea typeface="微软雅黑" panose="020B0503020204020204" pitchFamily="34" charset="-122"/>
              </a:rPr>
              <a:t>所有严重症状及反复发作的确诊患者均应考虑长期预防治疗</a:t>
            </a:r>
          </a:p>
        </p:txBody>
      </p:sp>
      <p:sp>
        <p:nvSpPr>
          <p:cNvPr id="65" name="矩形: 圆角 64">
            <a:extLst>
              <a:ext uri="{FF2B5EF4-FFF2-40B4-BE49-F238E27FC236}">
                <a16:creationId xmlns:a16="http://schemas.microsoft.com/office/drawing/2014/main" id="{140843E9-4935-4F47-A589-336103EE8536}"/>
              </a:ext>
            </a:extLst>
          </p:cNvPr>
          <p:cNvSpPr/>
          <p:nvPr/>
        </p:nvSpPr>
        <p:spPr>
          <a:xfrm>
            <a:off x="5172075" y="1741837"/>
            <a:ext cx="3076531" cy="603942"/>
          </a:xfrm>
          <a:prstGeom prst="roundRect">
            <a:avLst>
              <a:gd name="adj" fmla="val 12816"/>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marL="171450" indent="-171450">
              <a:buFont typeface="Arial" panose="020B0604020202020204" pitchFamily="34" charset="0"/>
              <a:buChar char="•"/>
            </a:pPr>
            <a:r>
              <a:rPr kumimoji="1" lang="zh-CN" altLang="en-US" sz="1200">
                <a:solidFill>
                  <a:schemeClr val="accent2"/>
                </a:solidFill>
                <a:latin typeface="微软雅黑" panose="020B0503020204020204" pitchFamily="34" charset="-122"/>
                <a:ea typeface="微软雅黑" panose="020B0503020204020204" pitchFamily="34" charset="-122"/>
              </a:rPr>
              <a:t>对于所有明确诊断的患者，均推荐进行长期预防，目的是减少</a:t>
            </a:r>
            <a:r>
              <a:rPr kumimoji="1" lang="en-US" altLang="zh-CN" sz="1200">
                <a:solidFill>
                  <a:schemeClr val="accent2"/>
                </a:solidFill>
                <a:latin typeface="微软雅黑" panose="020B0503020204020204" pitchFamily="34" charset="-122"/>
                <a:ea typeface="微软雅黑" panose="020B0503020204020204" pitchFamily="34" charset="-122"/>
              </a:rPr>
              <a:t>HAE</a:t>
            </a:r>
            <a:r>
              <a:rPr kumimoji="1" lang="zh-CN" altLang="en-US" sz="1200">
                <a:solidFill>
                  <a:schemeClr val="accent2"/>
                </a:solidFill>
                <a:latin typeface="微软雅黑" panose="020B0503020204020204" pitchFamily="34" charset="-122"/>
                <a:ea typeface="微软雅黑" panose="020B0503020204020204" pitchFamily="34" charset="-122"/>
              </a:rPr>
              <a:t>对日常生活的影响，防止致命性水肿的发生</a:t>
            </a:r>
          </a:p>
        </p:txBody>
      </p:sp>
      <p:sp>
        <p:nvSpPr>
          <p:cNvPr id="66" name="矩形: 圆角 65">
            <a:extLst>
              <a:ext uri="{FF2B5EF4-FFF2-40B4-BE49-F238E27FC236}">
                <a16:creationId xmlns:a16="http://schemas.microsoft.com/office/drawing/2014/main" id="{E3BBFC25-0AE2-47C0-B162-A0678E33473D}"/>
              </a:ext>
            </a:extLst>
          </p:cNvPr>
          <p:cNvSpPr/>
          <p:nvPr/>
        </p:nvSpPr>
        <p:spPr>
          <a:xfrm>
            <a:off x="8763284" y="2462405"/>
            <a:ext cx="2933416" cy="2214370"/>
          </a:xfrm>
          <a:prstGeom prst="roundRect">
            <a:avLst>
              <a:gd name="adj" fmla="val 9934"/>
            </a:avLst>
          </a:prstGeom>
          <a:solidFill>
            <a:schemeClr val="bg1">
              <a:lumMod val="95000"/>
            </a:schemeClr>
          </a:solidFill>
          <a:ln w="19050">
            <a:noFill/>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zh-CN" altLang="en-US" sz="1200" b="1">
                <a:solidFill>
                  <a:schemeClr val="accent2"/>
                </a:solidFill>
                <a:latin typeface="微软雅黑" panose="020B0503020204020204" pitchFamily="34" charset="-122"/>
                <a:ea typeface="微软雅黑" panose="020B0503020204020204" pitchFamily="34" charset="-122"/>
              </a:rPr>
              <a:t>拉那利尤单抗</a:t>
            </a:r>
            <a:r>
              <a:rPr kumimoji="1" lang="zh-CN" altLang="en-US" sz="1200">
                <a:solidFill>
                  <a:srgbClr val="1A1918"/>
                </a:solidFill>
                <a:latin typeface="微软雅黑" panose="020B0503020204020204" pitchFamily="34" charset="-122"/>
                <a:ea typeface="微软雅黑" panose="020B0503020204020204" pitchFamily="34" charset="-122"/>
              </a:rPr>
              <a:t>是</a:t>
            </a:r>
            <a:r>
              <a:rPr kumimoji="1" lang="en-US" altLang="zh-CN" sz="1200">
                <a:solidFill>
                  <a:srgbClr val="1A1918"/>
                </a:solidFill>
                <a:latin typeface="微软雅黑" panose="020B0503020204020204" pitchFamily="34" charset="-122"/>
                <a:ea typeface="微软雅黑" panose="020B0503020204020204" pitchFamily="34" charset="-122"/>
              </a:rPr>
              <a:t>HAE</a:t>
            </a:r>
            <a:r>
              <a:rPr kumimoji="1" lang="zh-CN" altLang="en-US" sz="1200">
                <a:solidFill>
                  <a:srgbClr val="1A1918"/>
                </a:solidFill>
                <a:latin typeface="微软雅黑" panose="020B0503020204020204" pitchFamily="34" charset="-122"/>
                <a:ea typeface="微软雅黑" panose="020B0503020204020204" pitchFamily="34" charset="-122"/>
              </a:rPr>
              <a:t>长期预防治疗的一线治疗药物，推荐级别为强烈推荐（最高级）</a:t>
            </a:r>
          </a:p>
        </p:txBody>
      </p:sp>
      <p:sp>
        <p:nvSpPr>
          <p:cNvPr id="67" name="矩形: 圆角 66">
            <a:extLst>
              <a:ext uri="{FF2B5EF4-FFF2-40B4-BE49-F238E27FC236}">
                <a16:creationId xmlns:a16="http://schemas.microsoft.com/office/drawing/2014/main" id="{34AFF7AF-17F2-4F44-99B3-B9888768953E}"/>
              </a:ext>
            </a:extLst>
          </p:cNvPr>
          <p:cNvSpPr/>
          <p:nvPr/>
        </p:nvSpPr>
        <p:spPr>
          <a:xfrm>
            <a:off x="8763284" y="1741837"/>
            <a:ext cx="2933416" cy="603942"/>
          </a:xfrm>
          <a:prstGeom prst="roundRect">
            <a:avLst>
              <a:gd name="adj" fmla="val 17806"/>
            </a:avLst>
          </a:prstGeom>
          <a:solidFill>
            <a:schemeClr val="bg1">
              <a:lumMod val="95000"/>
            </a:schemeClr>
          </a:solidFill>
          <a:ln w="19050">
            <a:noFill/>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lang="zh-CN" altLang="zh-CN" sz="1200" b="1" kern="100" dirty="0">
                <a:solidFill>
                  <a:schemeClr val="accent2"/>
                </a:solidFill>
                <a:effectLst/>
                <a:latin typeface="微软雅黑" panose="020B0503020204020204" pitchFamily="34" charset="-122"/>
                <a:ea typeface="微软雅黑" panose="020B0503020204020204" pitchFamily="34" charset="-122"/>
                <a:cs typeface="Times New Roman" panose="02020603050405020304" pitchFamily="18" charset="0"/>
              </a:rPr>
              <a:t>全人源单克隆抗体</a:t>
            </a:r>
            <a:r>
              <a:rPr lang="en-US" altLang="zh-CN" sz="1200" b="1" kern="100" dirty="0" err="1">
                <a:solidFill>
                  <a:schemeClr val="accent2"/>
                </a:solidFill>
                <a:effectLst/>
                <a:latin typeface="微软雅黑" panose="020B0503020204020204" pitchFamily="34" charset="-122"/>
                <a:ea typeface="微软雅黑" panose="020B0503020204020204" pitchFamily="34" charset="-122"/>
                <a:cs typeface="Times New Roman" panose="02020603050405020304" pitchFamily="18" charset="0"/>
              </a:rPr>
              <a:t>Lanadelumab</a:t>
            </a:r>
            <a:r>
              <a:rPr lang="zh-CN" altLang="zh-CN" sz="1200" kern="100" dirty="0">
                <a:latin typeface="微软雅黑" panose="020B0503020204020204" pitchFamily="34" charset="-122"/>
                <a:ea typeface="微软雅黑" panose="020B0503020204020204" pitchFamily="34" charset="-122"/>
                <a:cs typeface="Times New Roman" panose="02020603050405020304" pitchFamily="18" charset="0"/>
              </a:rPr>
              <a:t>抑制血浆激肽释放酶，用于</a:t>
            </a:r>
            <a:r>
              <a:rPr lang="en-US" altLang="zh-CN" sz="1200" kern="100" dirty="0">
                <a:effectLst/>
                <a:latin typeface="微软雅黑" panose="020B0503020204020204" pitchFamily="34" charset="-122"/>
                <a:ea typeface="微软雅黑" panose="020B0503020204020204" pitchFamily="34" charset="-122"/>
                <a:cs typeface="Times New Roman" panose="02020603050405020304" pitchFamily="18" charset="0"/>
              </a:rPr>
              <a:t>12</a:t>
            </a:r>
            <a:r>
              <a:rPr lang="zh-CN" altLang="zh-CN" sz="1200" kern="100" dirty="0">
                <a:effectLst/>
                <a:latin typeface="微软雅黑" panose="020B0503020204020204" pitchFamily="34" charset="-122"/>
                <a:ea typeface="微软雅黑" panose="020B0503020204020204" pitchFamily="34" charset="-122"/>
                <a:cs typeface="Times New Roman" panose="02020603050405020304" pitchFamily="18" charset="0"/>
              </a:rPr>
              <a:t>岁以上患者的长期预防，为</a:t>
            </a:r>
            <a:r>
              <a:rPr lang="en-US" altLang="zh-CN" sz="1200" kern="100" dirty="0">
                <a:effectLst/>
                <a:latin typeface="微软雅黑" panose="020B0503020204020204" pitchFamily="34" charset="-122"/>
                <a:ea typeface="微软雅黑" panose="020B0503020204020204" pitchFamily="34" charset="-122"/>
                <a:cs typeface="Times New Roman" panose="02020603050405020304" pitchFamily="18" charset="0"/>
              </a:rPr>
              <a:t>HAE</a:t>
            </a:r>
            <a:r>
              <a:rPr lang="zh-CN" altLang="zh-CN" sz="1200" kern="100" dirty="0">
                <a:effectLst/>
                <a:latin typeface="微软雅黑" panose="020B0503020204020204" pitchFamily="34" charset="-122"/>
                <a:ea typeface="微软雅黑" panose="020B0503020204020204" pitchFamily="34" charset="-122"/>
                <a:cs typeface="Times New Roman" panose="02020603050405020304" pitchFamily="18" charset="0"/>
              </a:rPr>
              <a:t>的预防提供了新选择</a:t>
            </a:r>
            <a:endParaRPr kumimoji="1" lang="en-US" altLang="zh-CN" sz="1200" b="1" dirty="0">
              <a:solidFill>
                <a:srgbClr val="1A1918"/>
              </a:solidFill>
              <a:latin typeface="微软雅黑" panose="020B0503020204020204" pitchFamily="34" charset="-122"/>
              <a:ea typeface="微软雅黑" panose="020B0503020204020204" pitchFamily="34" charset="-122"/>
            </a:endParaRPr>
          </a:p>
        </p:txBody>
      </p:sp>
      <p:grpSp>
        <p:nvGrpSpPr>
          <p:cNvPr id="68" name="组合 67">
            <a:extLst>
              <a:ext uri="{FF2B5EF4-FFF2-40B4-BE49-F238E27FC236}">
                <a16:creationId xmlns:a16="http://schemas.microsoft.com/office/drawing/2014/main" id="{A21795DF-079D-460F-AE81-C62574BF3DF9}"/>
              </a:ext>
            </a:extLst>
          </p:cNvPr>
          <p:cNvGrpSpPr/>
          <p:nvPr/>
        </p:nvGrpSpPr>
        <p:grpSpPr>
          <a:xfrm>
            <a:off x="2138362" y="1358803"/>
            <a:ext cx="1972487" cy="343009"/>
            <a:chOff x="971583" y="1349829"/>
            <a:chExt cx="2853001" cy="470262"/>
          </a:xfrm>
        </p:grpSpPr>
        <p:sp>
          <p:nvSpPr>
            <p:cNvPr id="69" name="矩形 68">
              <a:extLst>
                <a:ext uri="{FF2B5EF4-FFF2-40B4-BE49-F238E27FC236}">
                  <a16:creationId xmlns:a16="http://schemas.microsoft.com/office/drawing/2014/main" id="{6A986C5C-56CB-4495-8E4C-29CCDDC3AC26}"/>
                </a:ext>
              </a:extLst>
            </p:cNvPr>
            <p:cNvSpPr/>
            <p:nvPr/>
          </p:nvSpPr>
          <p:spPr>
            <a:xfrm>
              <a:off x="990286" y="1349829"/>
              <a:ext cx="2834298" cy="470262"/>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400" b="1">
                  <a:solidFill>
                    <a:srgbClr val="1A1918"/>
                  </a:solidFill>
                  <a:latin typeface="微软雅黑" panose="020B0503020204020204" pitchFamily="34" charset="-122"/>
                  <a:ea typeface="微软雅黑" panose="020B0503020204020204" pitchFamily="34" charset="-122"/>
                </a:rPr>
                <a:t>指南名称</a:t>
              </a:r>
            </a:p>
          </p:txBody>
        </p:sp>
        <p:cxnSp>
          <p:nvCxnSpPr>
            <p:cNvPr id="70" name="直接连接符 69">
              <a:extLst>
                <a:ext uri="{FF2B5EF4-FFF2-40B4-BE49-F238E27FC236}">
                  <a16:creationId xmlns:a16="http://schemas.microsoft.com/office/drawing/2014/main" id="{A0F47B9A-9918-41EE-ACC4-3474CC709E22}"/>
                </a:ext>
              </a:extLst>
            </p:cNvPr>
            <p:cNvCxnSpPr>
              <a:cxnSpLocks/>
            </p:cNvCxnSpPr>
            <p:nvPr/>
          </p:nvCxnSpPr>
          <p:spPr>
            <a:xfrm>
              <a:off x="971583" y="1772898"/>
              <a:ext cx="283429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1" name="组合 70">
            <a:extLst>
              <a:ext uri="{FF2B5EF4-FFF2-40B4-BE49-F238E27FC236}">
                <a16:creationId xmlns:a16="http://schemas.microsoft.com/office/drawing/2014/main" id="{4A3F069D-B5F0-4A7B-BC02-BC92E8598446}"/>
              </a:ext>
            </a:extLst>
          </p:cNvPr>
          <p:cNvGrpSpPr/>
          <p:nvPr/>
        </p:nvGrpSpPr>
        <p:grpSpPr>
          <a:xfrm>
            <a:off x="4181634" y="1358803"/>
            <a:ext cx="919656" cy="343009"/>
            <a:chOff x="971583" y="1349829"/>
            <a:chExt cx="2853001" cy="470262"/>
          </a:xfrm>
        </p:grpSpPr>
        <p:sp>
          <p:nvSpPr>
            <p:cNvPr id="72" name="矩形 71">
              <a:extLst>
                <a:ext uri="{FF2B5EF4-FFF2-40B4-BE49-F238E27FC236}">
                  <a16:creationId xmlns:a16="http://schemas.microsoft.com/office/drawing/2014/main" id="{C97E7587-8DF2-4B7E-B078-E2C79167BF46}"/>
                </a:ext>
              </a:extLst>
            </p:cNvPr>
            <p:cNvSpPr/>
            <p:nvPr/>
          </p:nvSpPr>
          <p:spPr>
            <a:xfrm>
              <a:off x="990286" y="1349829"/>
              <a:ext cx="2834298" cy="470262"/>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400" b="1">
                  <a:solidFill>
                    <a:srgbClr val="1A1918"/>
                  </a:solidFill>
                  <a:latin typeface="微软雅黑" panose="020B0503020204020204" pitchFamily="34" charset="-122"/>
                  <a:ea typeface="微软雅黑" panose="020B0503020204020204" pitchFamily="34" charset="-122"/>
                </a:rPr>
                <a:t>年份</a:t>
              </a:r>
            </a:p>
          </p:txBody>
        </p:sp>
        <p:cxnSp>
          <p:nvCxnSpPr>
            <p:cNvPr id="73" name="直接连接符 72">
              <a:extLst>
                <a:ext uri="{FF2B5EF4-FFF2-40B4-BE49-F238E27FC236}">
                  <a16:creationId xmlns:a16="http://schemas.microsoft.com/office/drawing/2014/main" id="{D69AD22E-6475-4AAB-B8EE-1CDFE47C0635}"/>
                </a:ext>
              </a:extLst>
            </p:cNvPr>
            <p:cNvCxnSpPr>
              <a:cxnSpLocks/>
            </p:cNvCxnSpPr>
            <p:nvPr/>
          </p:nvCxnSpPr>
          <p:spPr>
            <a:xfrm>
              <a:off x="971583" y="1772898"/>
              <a:ext cx="283429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4" name="组合 73">
            <a:extLst>
              <a:ext uri="{FF2B5EF4-FFF2-40B4-BE49-F238E27FC236}">
                <a16:creationId xmlns:a16="http://schemas.microsoft.com/office/drawing/2014/main" id="{769DA012-94AB-4446-B7AE-42A41D85DA34}"/>
              </a:ext>
            </a:extLst>
          </p:cNvPr>
          <p:cNvGrpSpPr/>
          <p:nvPr/>
        </p:nvGrpSpPr>
        <p:grpSpPr>
          <a:xfrm>
            <a:off x="5172075" y="1358803"/>
            <a:ext cx="3076531" cy="343009"/>
            <a:chOff x="971583" y="1349829"/>
            <a:chExt cx="2853001" cy="470262"/>
          </a:xfrm>
        </p:grpSpPr>
        <p:sp>
          <p:nvSpPr>
            <p:cNvPr id="92" name="矩形 91">
              <a:extLst>
                <a:ext uri="{FF2B5EF4-FFF2-40B4-BE49-F238E27FC236}">
                  <a16:creationId xmlns:a16="http://schemas.microsoft.com/office/drawing/2014/main" id="{0BDFBE2B-C41B-4A90-BE26-166A237C1E28}"/>
                </a:ext>
              </a:extLst>
            </p:cNvPr>
            <p:cNvSpPr/>
            <p:nvPr/>
          </p:nvSpPr>
          <p:spPr>
            <a:xfrm>
              <a:off x="990286" y="1349829"/>
              <a:ext cx="2834298" cy="470262"/>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400" b="1" dirty="0">
                  <a:solidFill>
                    <a:srgbClr val="1A1918"/>
                  </a:solidFill>
                  <a:latin typeface="微软雅黑" panose="020B0503020204020204" pitchFamily="34" charset="-122"/>
                  <a:ea typeface="微软雅黑" panose="020B0503020204020204" pitchFamily="34" charset="-122"/>
                </a:rPr>
                <a:t>患者接受长期治疗重要性</a:t>
              </a:r>
            </a:p>
          </p:txBody>
        </p:sp>
        <p:cxnSp>
          <p:nvCxnSpPr>
            <p:cNvPr id="93" name="直接连接符 92">
              <a:extLst>
                <a:ext uri="{FF2B5EF4-FFF2-40B4-BE49-F238E27FC236}">
                  <a16:creationId xmlns:a16="http://schemas.microsoft.com/office/drawing/2014/main" id="{46E8742D-0FF1-4CBC-8E56-4C2028BBE476}"/>
                </a:ext>
              </a:extLst>
            </p:cNvPr>
            <p:cNvCxnSpPr>
              <a:cxnSpLocks/>
            </p:cNvCxnSpPr>
            <p:nvPr/>
          </p:nvCxnSpPr>
          <p:spPr>
            <a:xfrm>
              <a:off x="971583" y="1772898"/>
              <a:ext cx="283429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4" name="组合 93">
            <a:extLst>
              <a:ext uri="{FF2B5EF4-FFF2-40B4-BE49-F238E27FC236}">
                <a16:creationId xmlns:a16="http://schemas.microsoft.com/office/drawing/2014/main" id="{137AD829-0DAE-4D6C-9B9A-F43F7CED850D}"/>
              </a:ext>
            </a:extLst>
          </p:cNvPr>
          <p:cNvGrpSpPr/>
          <p:nvPr/>
        </p:nvGrpSpPr>
        <p:grpSpPr>
          <a:xfrm>
            <a:off x="8763284" y="1358803"/>
            <a:ext cx="2933416" cy="343009"/>
            <a:chOff x="971583" y="1349829"/>
            <a:chExt cx="2853001" cy="470262"/>
          </a:xfrm>
        </p:grpSpPr>
        <p:sp>
          <p:nvSpPr>
            <p:cNvPr id="95" name="矩形 94">
              <a:extLst>
                <a:ext uri="{FF2B5EF4-FFF2-40B4-BE49-F238E27FC236}">
                  <a16:creationId xmlns:a16="http://schemas.microsoft.com/office/drawing/2014/main" id="{3E4D7211-BCC6-41BB-BA59-B9867F9273B8}"/>
                </a:ext>
              </a:extLst>
            </p:cNvPr>
            <p:cNvSpPr/>
            <p:nvPr/>
          </p:nvSpPr>
          <p:spPr>
            <a:xfrm>
              <a:off x="990286" y="1349829"/>
              <a:ext cx="2834298" cy="470262"/>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400" b="1">
                  <a:solidFill>
                    <a:srgbClr val="1A1918"/>
                  </a:solidFill>
                  <a:latin typeface="微软雅黑" panose="020B0503020204020204" pitchFamily="34" charset="-122"/>
                  <a:ea typeface="微软雅黑" panose="020B0503020204020204" pitchFamily="34" charset="-122"/>
                </a:rPr>
                <a:t>一线治疗药物推荐</a:t>
              </a:r>
            </a:p>
          </p:txBody>
        </p:sp>
        <p:cxnSp>
          <p:nvCxnSpPr>
            <p:cNvPr id="96" name="直接连接符 95">
              <a:extLst>
                <a:ext uri="{FF2B5EF4-FFF2-40B4-BE49-F238E27FC236}">
                  <a16:creationId xmlns:a16="http://schemas.microsoft.com/office/drawing/2014/main" id="{D902896A-C6C6-4182-B033-F909BC0A1F5D}"/>
                </a:ext>
              </a:extLst>
            </p:cNvPr>
            <p:cNvCxnSpPr>
              <a:cxnSpLocks/>
            </p:cNvCxnSpPr>
            <p:nvPr/>
          </p:nvCxnSpPr>
          <p:spPr>
            <a:xfrm>
              <a:off x="971583" y="1772898"/>
              <a:ext cx="2834298" cy="0"/>
            </a:xfrm>
            <a:prstGeom prst="line">
              <a:avLst/>
            </a:prstGeom>
            <a:ln w="190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97" name="等腰三角形 96">
            <a:extLst>
              <a:ext uri="{FF2B5EF4-FFF2-40B4-BE49-F238E27FC236}">
                <a16:creationId xmlns:a16="http://schemas.microsoft.com/office/drawing/2014/main" id="{DE93F118-C732-492B-A62B-87E60FB92F22}"/>
              </a:ext>
            </a:extLst>
          </p:cNvPr>
          <p:cNvSpPr/>
          <p:nvPr/>
        </p:nvSpPr>
        <p:spPr>
          <a:xfrm rot="5400000">
            <a:off x="7460309" y="2833152"/>
            <a:ext cx="2119846" cy="346748"/>
          </a:xfrm>
          <a:prstGeom prst="triangle">
            <a:avLst/>
          </a:prstGeom>
          <a:solidFill>
            <a:srgbClr val="FBE1E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sz="1400">
              <a:latin typeface="微软雅黑" panose="020B0503020204020204" pitchFamily="34" charset="-122"/>
              <a:ea typeface="微软雅黑" panose="020B0503020204020204" pitchFamily="34" charset="-122"/>
            </a:endParaRPr>
          </a:p>
        </p:txBody>
      </p:sp>
      <p:sp>
        <p:nvSpPr>
          <p:cNvPr id="98" name="矩形: 圆角 97">
            <a:extLst>
              <a:ext uri="{FF2B5EF4-FFF2-40B4-BE49-F238E27FC236}">
                <a16:creationId xmlns:a16="http://schemas.microsoft.com/office/drawing/2014/main" id="{A3995DF4-6F88-457B-B36D-577F95F7EB6D}"/>
              </a:ext>
            </a:extLst>
          </p:cNvPr>
          <p:cNvSpPr/>
          <p:nvPr/>
        </p:nvSpPr>
        <p:spPr>
          <a:xfrm>
            <a:off x="2138362" y="3182973"/>
            <a:ext cx="1972487" cy="603942"/>
          </a:xfrm>
          <a:prstGeom prst="roundRect">
            <a:avLst/>
          </a:prstGeom>
          <a:solidFill>
            <a:schemeClr val="accent1">
              <a:lumMod val="20000"/>
              <a:lumOff val="80000"/>
            </a:schemeClr>
          </a:solidFill>
          <a:ln w="19050">
            <a:noFill/>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en-US" altLang="zh-CN" sz="1200" b="1">
                <a:solidFill>
                  <a:srgbClr val="1A1918"/>
                </a:solidFill>
                <a:latin typeface="微软雅黑" panose="020B0503020204020204" pitchFamily="34" charset="-122"/>
                <a:ea typeface="微软雅黑" panose="020B0503020204020204" pitchFamily="34" charset="-122"/>
              </a:rPr>
              <a:t>《2020</a:t>
            </a:r>
            <a:r>
              <a:rPr kumimoji="1" lang="zh-CN" altLang="en-US" sz="1200" b="1">
                <a:solidFill>
                  <a:srgbClr val="1A1918"/>
                </a:solidFill>
                <a:latin typeface="微软雅黑" panose="020B0503020204020204" pitchFamily="34" charset="-122"/>
                <a:ea typeface="微软雅黑" panose="020B0503020204020204" pitchFamily="34" charset="-122"/>
              </a:rPr>
              <a:t>年美国</a:t>
            </a:r>
            <a:r>
              <a:rPr kumimoji="1" lang="en-US" altLang="zh-CN" sz="1200" b="1">
                <a:solidFill>
                  <a:srgbClr val="1A1918"/>
                </a:solidFill>
                <a:latin typeface="微软雅黑" panose="020B0503020204020204" pitchFamily="34" charset="-122"/>
                <a:ea typeface="微软雅黑" panose="020B0503020204020204" pitchFamily="34" charset="-122"/>
              </a:rPr>
              <a:t>HAEA</a:t>
            </a:r>
            <a:r>
              <a:rPr kumimoji="1" lang="zh-CN" altLang="en-US" sz="1200" b="1">
                <a:solidFill>
                  <a:srgbClr val="1A1918"/>
                </a:solidFill>
                <a:latin typeface="微软雅黑" panose="020B0503020204020204" pitchFamily="34" charset="-122"/>
                <a:ea typeface="微软雅黑" panose="020B0503020204020204" pitchFamily="34" charset="-122"/>
              </a:rPr>
              <a:t>医疗咨询委员会遗传性血管性水肿治疗指南</a:t>
            </a:r>
            <a:r>
              <a:rPr kumimoji="1" lang="en-US" altLang="zh-CN" sz="1200" b="1">
                <a:solidFill>
                  <a:srgbClr val="1A1918"/>
                </a:solidFill>
                <a:latin typeface="微软雅黑" panose="020B0503020204020204" pitchFamily="34" charset="-122"/>
                <a:ea typeface="微软雅黑" panose="020B0503020204020204" pitchFamily="34" charset="-122"/>
              </a:rPr>
              <a:t>》</a:t>
            </a:r>
          </a:p>
        </p:txBody>
      </p:sp>
      <p:sp>
        <p:nvSpPr>
          <p:cNvPr id="99" name="矩形: 圆角 98">
            <a:extLst>
              <a:ext uri="{FF2B5EF4-FFF2-40B4-BE49-F238E27FC236}">
                <a16:creationId xmlns:a16="http://schemas.microsoft.com/office/drawing/2014/main" id="{B4D2B245-11B0-4F5B-B476-AC9C52814F58}"/>
              </a:ext>
            </a:extLst>
          </p:cNvPr>
          <p:cNvSpPr/>
          <p:nvPr/>
        </p:nvSpPr>
        <p:spPr>
          <a:xfrm>
            <a:off x="4181634" y="3182973"/>
            <a:ext cx="919656" cy="603942"/>
          </a:xfrm>
          <a:prstGeom prst="roundRect">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en-US" altLang="zh-CN" sz="1200">
                <a:solidFill>
                  <a:srgbClr val="1A1918"/>
                </a:solidFill>
                <a:latin typeface="微软雅黑" panose="020B0503020204020204" pitchFamily="34" charset="-122"/>
                <a:ea typeface="微软雅黑" panose="020B0503020204020204" pitchFamily="34" charset="-122"/>
              </a:rPr>
              <a:t>2020</a:t>
            </a:r>
            <a:r>
              <a:rPr kumimoji="1" lang="zh-CN" altLang="en-US" sz="1200">
                <a:solidFill>
                  <a:srgbClr val="1A1918"/>
                </a:solidFill>
                <a:latin typeface="微软雅黑" panose="020B0503020204020204" pitchFamily="34" charset="-122"/>
                <a:ea typeface="微软雅黑" panose="020B0503020204020204" pitchFamily="34" charset="-122"/>
              </a:rPr>
              <a:t>年</a:t>
            </a:r>
            <a:endParaRPr kumimoji="1" lang="en-US" altLang="zh-CN" sz="1200">
              <a:solidFill>
                <a:srgbClr val="1A1918"/>
              </a:solidFill>
              <a:latin typeface="微软雅黑" panose="020B0503020204020204" pitchFamily="34" charset="-122"/>
              <a:ea typeface="微软雅黑" panose="020B0503020204020204" pitchFamily="34" charset="-122"/>
            </a:endParaRPr>
          </a:p>
        </p:txBody>
      </p:sp>
      <p:sp>
        <p:nvSpPr>
          <p:cNvPr id="100" name="矩形: 圆角 99">
            <a:extLst>
              <a:ext uri="{FF2B5EF4-FFF2-40B4-BE49-F238E27FC236}">
                <a16:creationId xmlns:a16="http://schemas.microsoft.com/office/drawing/2014/main" id="{45FE98CA-4380-4C2C-9C9F-9987D6C93E2C}"/>
              </a:ext>
            </a:extLst>
          </p:cNvPr>
          <p:cNvSpPr/>
          <p:nvPr/>
        </p:nvSpPr>
        <p:spPr>
          <a:xfrm>
            <a:off x="2138362" y="3903542"/>
            <a:ext cx="1972487" cy="773233"/>
          </a:xfrm>
          <a:prstGeom prst="roundRect">
            <a:avLst/>
          </a:prstGeom>
          <a:solidFill>
            <a:schemeClr val="accent1">
              <a:lumMod val="20000"/>
              <a:lumOff val="80000"/>
            </a:schemeClr>
          </a:solidFill>
          <a:ln w="19050">
            <a:noFill/>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en-US" altLang="zh-CN" sz="1200" b="1">
                <a:solidFill>
                  <a:srgbClr val="1A1918"/>
                </a:solidFill>
                <a:latin typeface="微软雅黑" panose="020B0503020204020204" pitchFamily="34" charset="-122"/>
                <a:ea typeface="微软雅黑" panose="020B0503020204020204" pitchFamily="34" charset="-122"/>
              </a:rPr>
              <a:t>《</a:t>
            </a:r>
            <a:r>
              <a:rPr kumimoji="1" lang="zh-CN" altLang="en-US" sz="1200" b="1">
                <a:solidFill>
                  <a:srgbClr val="1A1918"/>
                </a:solidFill>
                <a:latin typeface="微软雅黑" panose="020B0503020204020204" pitchFamily="34" charset="-122"/>
                <a:ea typeface="微软雅黑" panose="020B0503020204020204" pitchFamily="34" charset="-122"/>
              </a:rPr>
              <a:t>国际</a:t>
            </a:r>
            <a:r>
              <a:rPr kumimoji="1" lang="en-US" altLang="zh-CN" sz="1200" b="1">
                <a:solidFill>
                  <a:srgbClr val="1A1918"/>
                </a:solidFill>
                <a:latin typeface="微软雅黑" panose="020B0503020204020204" pitchFamily="34" charset="-122"/>
                <a:ea typeface="微软雅黑" panose="020B0503020204020204" pitchFamily="34" charset="-122"/>
              </a:rPr>
              <a:t>WAO/EAACI</a:t>
            </a:r>
            <a:r>
              <a:rPr kumimoji="1" lang="zh-CN" altLang="en-US" sz="1200" b="1">
                <a:solidFill>
                  <a:srgbClr val="1A1918"/>
                </a:solidFill>
                <a:latin typeface="微软雅黑" panose="020B0503020204020204" pitchFamily="34" charset="-122"/>
                <a:ea typeface="微软雅黑" panose="020B0503020204020204" pitchFamily="34" charset="-122"/>
              </a:rPr>
              <a:t>遗传性血管性水肿管理指南</a:t>
            </a:r>
            <a:r>
              <a:rPr kumimoji="1" lang="en-US" altLang="zh-CN" sz="1200" b="1">
                <a:solidFill>
                  <a:srgbClr val="1A1918"/>
                </a:solidFill>
                <a:latin typeface="微软雅黑" panose="020B0503020204020204" pitchFamily="34" charset="-122"/>
                <a:ea typeface="微软雅黑" panose="020B0503020204020204" pitchFamily="34" charset="-122"/>
              </a:rPr>
              <a:t>-2021</a:t>
            </a:r>
            <a:r>
              <a:rPr kumimoji="1" lang="zh-CN" altLang="en-US" sz="1200" b="1">
                <a:solidFill>
                  <a:srgbClr val="1A1918"/>
                </a:solidFill>
                <a:latin typeface="微软雅黑" panose="020B0503020204020204" pitchFamily="34" charset="-122"/>
                <a:ea typeface="微软雅黑" panose="020B0503020204020204" pitchFamily="34" charset="-122"/>
              </a:rPr>
              <a:t>年修订和更新</a:t>
            </a:r>
            <a:r>
              <a:rPr kumimoji="1" lang="en-US" altLang="zh-CN" sz="1200" b="1">
                <a:solidFill>
                  <a:srgbClr val="1A1918"/>
                </a:solidFill>
                <a:latin typeface="微软雅黑" panose="020B0503020204020204" pitchFamily="34" charset="-122"/>
                <a:ea typeface="微软雅黑" panose="020B0503020204020204" pitchFamily="34" charset="-122"/>
              </a:rPr>
              <a:t>》</a:t>
            </a:r>
          </a:p>
        </p:txBody>
      </p:sp>
      <p:sp>
        <p:nvSpPr>
          <p:cNvPr id="101" name="矩形: 圆角 100">
            <a:extLst>
              <a:ext uri="{FF2B5EF4-FFF2-40B4-BE49-F238E27FC236}">
                <a16:creationId xmlns:a16="http://schemas.microsoft.com/office/drawing/2014/main" id="{6F9594B7-996B-4CB7-8887-105691908F4C}"/>
              </a:ext>
            </a:extLst>
          </p:cNvPr>
          <p:cNvSpPr/>
          <p:nvPr/>
        </p:nvSpPr>
        <p:spPr>
          <a:xfrm>
            <a:off x="4181634" y="3903542"/>
            <a:ext cx="919656" cy="773233"/>
          </a:xfrm>
          <a:prstGeom prst="roundRect">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en-US" altLang="zh-CN" sz="1200">
                <a:solidFill>
                  <a:srgbClr val="1A1918"/>
                </a:solidFill>
                <a:latin typeface="微软雅黑" panose="020B0503020204020204" pitchFamily="34" charset="-122"/>
                <a:ea typeface="微软雅黑" panose="020B0503020204020204" pitchFamily="34" charset="-122"/>
              </a:rPr>
              <a:t>2021</a:t>
            </a:r>
            <a:r>
              <a:rPr kumimoji="1" lang="zh-CN" altLang="en-US" sz="1200">
                <a:solidFill>
                  <a:srgbClr val="1A1918"/>
                </a:solidFill>
                <a:latin typeface="微软雅黑" panose="020B0503020204020204" pitchFamily="34" charset="-122"/>
                <a:ea typeface="微软雅黑" panose="020B0503020204020204" pitchFamily="34" charset="-122"/>
              </a:rPr>
              <a:t>年</a:t>
            </a:r>
            <a:endParaRPr kumimoji="1" lang="en-US" altLang="zh-CN" sz="1200">
              <a:solidFill>
                <a:srgbClr val="1A1918"/>
              </a:solidFill>
              <a:latin typeface="微软雅黑" panose="020B0503020204020204" pitchFamily="34" charset="-122"/>
              <a:ea typeface="微软雅黑" panose="020B0503020204020204" pitchFamily="34" charset="-122"/>
            </a:endParaRPr>
          </a:p>
        </p:txBody>
      </p:sp>
      <p:sp>
        <p:nvSpPr>
          <p:cNvPr id="102" name="矩形: 圆角 101">
            <a:extLst>
              <a:ext uri="{FF2B5EF4-FFF2-40B4-BE49-F238E27FC236}">
                <a16:creationId xmlns:a16="http://schemas.microsoft.com/office/drawing/2014/main" id="{EA237412-32F6-4275-9465-1183D5124C67}"/>
              </a:ext>
            </a:extLst>
          </p:cNvPr>
          <p:cNvSpPr/>
          <p:nvPr/>
        </p:nvSpPr>
        <p:spPr>
          <a:xfrm>
            <a:off x="5172075" y="3903542"/>
            <a:ext cx="3076531" cy="773233"/>
          </a:xfrm>
          <a:prstGeom prst="roundRect">
            <a:avLst>
              <a:gd name="adj" fmla="val 12816"/>
            </a:avLst>
          </a:prstGeom>
          <a:noFill/>
          <a:ln w="12700">
            <a:solidFill>
              <a:schemeClr val="tx1"/>
            </a:solidFill>
            <a:prstDash val="solid"/>
          </a:ln>
        </p:spPr>
        <p:style>
          <a:lnRef idx="1">
            <a:schemeClr val="accent1"/>
          </a:lnRef>
          <a:fillRef idx="0">
            <a:schemeClr val="accent1"/>
          </a:fillRef>
          <a:effectRef idx="0">
            <a:schemeClr val="accent1"/>
          </a:effectRef>
          <a:fontRef idx="minor">
            <a:schemeClr val="tx1"/>
          </a:fontRef>
        </p:style>
        <p:txBody>
          <a:bodyPr wrap="square" rtlCol="0" anchor="ctr"/>
          <a:lstStyle/>
          <a:p>
            <a:pPr marL="171450" indent="-171450">
              <a:buFont typeface="Arial" panose="020B0604020202020204" pitchFamily="34" charset="0"/>
              <a:buChar char="•"/>
            </a:pPr>
            <a:r>
              <a:rPr kumimoji="1" lang="zh-CN" altLang="en-US" sz="1200">
                <a:solidFill>
                  <a:srgbClr val="080808"/>
                </a:solidFill>
                <a:latin typeface="微软雅黑" panose="020B0503020204020204" pitchFamily="34" charset="-122"/>
                <a:ea typeface="微软雅黑" panose="020B0503020204020204" pitchFamily="34" charset="-122"/>
              </a:rPr>
              <a:t>实现疾病的完全控制和患者生活的正常化目标只能通过长期预防治疗来实现</a:t>
            </a:r>
            <a:endParaRPr kumimoji="1" lang="en-US" altLang="zh-CN" sz="1200">
              <a:solidFill>
                <a:srgbClr val="080808"/>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kumimoji="1" lang="zh-CN" altLang="en-US" sz="1200">
                <a:solidFill>
                  <a:srgbClr val="080808"/>
                </a:solidFill>
                <a:latin typeface="微软雅黑" panose="020B0503020204020204" pitchFamily="34" charset="-122"/>
                <a:ea typeface="微软雅黑" panose="020B0503020204020204" pitchFamily="34" charset="-122"/>
              </a:rPr>
              <a:t>长期预防应基于个体化患者需求制定长期预防治疗方案</a:t>
            </a:r>
          </a:p>
        </p:txBody>
      </p:sp>
      <p:sp>
        <p:nvSpPr>
          <p:cNvPr id="36" name="矩形: 圆角 35">
            <a:extLst>
              <a:ext uri="{FF2B5EF4-FFF2-40B4-BE49-F238E27FC236}">
                <a16:creationId xmlns:a16="http://schemas.microsoft.com/office/drawing/2014/main" id="{C74D7768-01BB-4476-81F2-63CAD171AB9E}"/>
              </a:ext>
            </a:extLst>
          </p:cNvPr>
          <p:cNvSpPr/>
          <p:nvPr/>
        </p:nvSpPr>
        <p:spPr>
          <a:xfrm>
            <a:off x="798848" y="1667389"/>
            <a:ext cx="1203162" cy="3009383"/>
          </a:xfrm>
          <a:prstGeom prst="round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lang="zh-CN" altLang="en-US" sz="1600" b="1">
                <a:solidFill>
                  <a:schemeClr val="bg1"/>
                </a:solidFill>
                <a:latin typeface="微软雅黑" panose="020B0503020204020204" pitchFamily="34" charset="-122"/>
                <a:ea typeface="微软雅黑" panose="020B0503020204020204" pitchFamily="34" charset="-122"/>
              </a:rPr>
              <a:t>国内外权威指南推荐：</a:t>
            </a:r>
            <a:r>
              <a:rPr kumimoji="1" lang="zh-CN" altLang="en-US" sz="1600" b="1">
                <a:solidFill>
                  <a:schemeClr val="bg1"/>
                </a:solidFill>
                <a:latin typeface="微软雅黑" panose="020B0503020204020204" pitchFamily="34" charset="-122"/>
                <a:ea typeface="微软雅黑" panose="020B0503020204020204" pitchFamily="34" charset="-122"/>
              </a:rPr>
              <a:t>拉那利尤单抗为长期预防一线治疗药物</a:t>
            </a:r>
          </a:p>
          <a:p>
            <a:pPr algn="ctr"/>
            <a:endParaRPr kumimoji="1" lang="zh-CN" altLang="en-US" sz="1600" b="1">
              <a:solidFill>
                <a:schemeClr val="bg1"/>
              </a:solidFill>
              <a:latin typeface="微软雅黑" panose="020B0503020204020204" pitchFamily="34" charset="-122"/>
              <a:ea typeface="微软雅黑" panose="020B0503020204020204" pitchFamily="34" charset="-122"/>
            </a:endParaRPr>
          </a:p>
        </p:txBody>
      </p:sp>
      <p:sp>
        <p:nvSpPr>
          <p:cNvPr id="38" name="矩形: 圆角 37">
            <a:extLst>
              <a:ext uri="{FF2B5EF4-FFF2-40B4-BE49-F238E27FC236}">
                <a16:creationId xmlns:a16="http://schemas.microsoft.com/office/drawing/2014/main" id="{628F0A79-3445-4DFB-9EFB-5F19FF63C611}"/>
              </a:ext>
            </a:extLst>
          </p:cNvPr>
          <p:cNvSpPr/>
          <p:nvPr/>
        </p:nvSpPr>
        <p:spPr>
          <a:xfrm>
            <a:off x="796186" y="4791590"/>
            <a:ext cx="1203162" cy="1625086"/>
          </a:xfrm>
          <a:prstGeom prst="roundRect">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zh-CN" altLang="en-US" sz="1600" b="1" dirty="0">
                <a:solidFill>
                  <a:schemeClr val="bg1"/>
                </a:solidFill>
                <a:latin typeface="微软雅黑" panose="020B0503020204020204" pitchFamily="34" charset="-122"/>
                <a:ea typeface="微软雅黑" panose="020B0503020204020204" pitchFamily="34" charset="-122"/>
              </a:rPr>
              <a:t>拉那利尤单抗</a:t>
            </a:r>
            <a:r>
              <a:rPr lang="en-US" altLang="zh-CN" sz="1600" b="1" dirty="0">
                <a:solidFill>
                  <a:schemeClr val="bg1"/>
                </a:solidFill>
                <a:latin typeface="微软雅黑" panose="020B0503020204020204" pitchFamily="34" charset="-122"/>
                <a:ea typeface="微软雅黑" panose="020B0503020204020204" pitchFamily="34" charset="-122"/>
              </a:rPr>
              <a:t>《</a:t>
            </a:r>
            <a:r>
              <a:rPr lang="zh-CN" altLang="en-US" sz="1600" b="1" dirty="0">
                <a:solidFill>
                  <a:schemeClr val="bg1"/>
                </a:solidFill>
                <a:latin typeface="微软雅黑" panose="020B0503020204020204" pitchFamily="34" charset="-122"/>
                <a:ea typeface="微软雅黑" panose="020B0503020204020204" pitchFamily="34" charset="-122"/>
              </a:rPr>
              <a:t>技术评审报告</a:t>
            </a:r>
            <a:r>
              <a:rPr lang="en-US" altLang="zh-CN" sz="1600" b="1" dirty="0">
                <a:solidFill>
                  <a:schemeClr val="bg1"/>
                </a:solidFill>
                <a:latin typeface="微软雅黑" panose="020B0503020204020204" pitchFamily="34" charset="-122"/>
                <a:ea typeface="微软雅黑" panose="020B0503020204020204" pitchFamily="34" charset="-122"/>
              </a:rPr>
              <a:t>》</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40" name="文本框 39">
            <a:extLst>
              <a:ext uri="{FF2B5EF4-FFF2-40B4-BE49-F238E27FC236}">
                <a16:creationId xmlns:a16="http://schemas.microsoft.com/office/drawing/2014/main" id="{97E55D86-D418-4C3A-B03E-F1CE882D57C7}"/>
              </a:ext>
            </a:extLst>
          </p:cNvPr>
          <p:cNvSpPr txBox="1"/>
          <p:nvPr/>
        </p:nvSpPr>
        <p:spPr>
          <a:xfrm>
            <a:off x="2151293" y="4930676"/>
            <a:ext cx="9598747" cy="1346907"/>
          </a:xfrm>
          <a:prstGeom prst="rect">
            <a:avLst/>
          </a:prstGeom>
          <a:noFill/>
        </p:spPr>
        <p:txBody>
          <a:bodyPr wrap="square">
            <a:spAutoFit/>
          </a:bodyPr>
          <a:lstStyle/>
          <a:p>
            <a:pPr>
              <a:lnSpc>
                <a:spcPct val="150000"/>
              </a:lnSpc>
            </a:pPr>
            <a:r>
              <a:rPr lang="en-US" altLang="zh-CN" sz="1400" i="1" dirty="0">
                <a:latin typeface="微软雅黑" panose="020B0503020204020204" pitchFamily="34" charset="-122"/>
                <a:ea typeface="微软雅黑" panose="020B0503020204020204" pitchFamily="34" charset="-122"/>
              </a:rPr>
              <a:t>DX-2930-03</a:t>
            </a:r>
            <a:r>
              <a:rPr lang="zh-CN" altLang="en-US" sz="1400" i="1" dirty="0">
                <a:latin typeface="微软雅黑" panose="020B0503020204020204" pitchFamily="34" charset="-122"/>
                <a:ea typeface="微软雅黑" panose="020B0503020204020204" pitchFamily="34" charset="-122"/>
              </a:rPr>
              <a:t>研究证明，对于主要终点</a:t>
            </a:r>
            <a:r>
              <a:rPr lang="en-US" altLang="zh-CN" sz="1400" i="1" dirty="0">
                <a:latin typeface="微软雅黑" panose="020B0503020204020204" pitchFamily="34" charset="-122"/>
                <a:ea typeface="微软雅黑" panose="020B0503020204020204" pitchFamily="34" charset="-122"/>
              </a:rPr>
              <a:t>HAE</a:t>
            </a:r>
            <a:r>
              <a:rPr lang="zh-CN" altLang="en-US" sz="1400" i="1" dirty="0">
                <a:latin typeface="微软雅黑" panose="020B0503020204020204" pitchFamily="34" charset="-122"/>
                <a:ea typeface="微软雅黑" panose="020B0503020204020204" pitchFamily="34" charset="-122"/>
              </a:rPr>
              <a:t>发作次数和次要终点包括需要急救的</a:t>
            </a:r>
            <a:r>
              <a:rPr lang="en-US" altLang="zh-CN" sz="1400" i="1" dirty="0">
                <a:latin typeface="微软雅黑" panose="020B0503020204020204" pitchFamily="34" charset="-122"/>
                <a:ea typeface="微软雅黑" panose="020B0503020204020204" pitchFamily="34" charset="-122"/>
              </a:rPr>
              <a:t>HAE</a:t>
            </a:r>
            <a:r>
              <a:rPr lang="zh-CN" altLang="en-US" sz="1400" i="1" dirty="0">
                <a:latin typeface="微软雅黑" panose="020B0503020204020204" pitchFamily="34" charset="-122"/>
                <a:ea typeface="微软雅黑" panose="020B0503020204020204" pitchFamily="34" charset="-122"/>
              </a:rPr>
              <a:t>发作、中度或重度</a:t>
            </a:r>
            <a:r>
              <a:rPr lang="en-US" altLang="zh-CN" sz="1400" i="1" dirty="0">
                <a:latin typeface="微软雅黑" panose="020B0503020204020204" pitchFamily="34" charset="-122"/>
                <a:ea typeface="微软雅黑" panose="020B0503020204020204" pitchFamily="34" charset="-122"/>
              </a:rPr>
              <a:t>HAE</a:t>
            </a:r>
            <a:r>
              <a:rPr lang="zh-CN" altLang="en-US" sz="1400" i="1" dirty="0">
                <a:latin typeface="微软雅黑" panose="020B0503020204020204" pitchFamily="34" charset="-122"/>
                <a:ea typeface="微软雅黑" panose="020B0503020204020204" pitchFamily="34" charset="-122"/>
              </a:rPr>
              <a:t>发作，</a:t>
            </a:r>
            <a:r>
              <a:rPr lang="en-US" altLang="zh-CN" sz="1400" i="1" dirty="0">
                <a:latin typeface="微软雅黑" panose="020B0503020204020204" pitchFamily="34" charset="-122"/>
                <a:ea typeface="微软雅黑" panose="020B0503020204020204" pitchFamily="34" charset="-122"/>
              </a:rPr>
              <a:t>3</a:t>
            </a:r>
            <a:r>
              <a:rPr lang="zh-CN" altLang="en-US" sz="1400" i="1" dirty="0">
                <a:latin typeface="微软雅黑" panose="020B0503020204020204" pitchFamily="34" charset="-122"/>
                <a:ea typeface="微软雅黑" panose="020B0503020204020204" pitchFamily="34" charset="-122"/>
              </a:rPr>
              <a:t>个</a:t>
            </a:r>
            <a:r>
              <a:rPr lang="en-US" altLang="zh-CN" sz="1400" i="1" dirty="0" err="1">
                <a:latin typeface="微软雅黑" panose="020B0503020204020204" pitchFamily="34" charset="-122"/>
                <a:ea typeface="微软雅黑" panose="020B0503020204020204" pitchFamily="34" charset="-122"/>
              </a:rPr>
              <a:t>Lanadelumab</a:t>
            </a:r>
            <a:r>
              <a:rPr lang="zh-CN" altLang="en-US" sz="1400" i="1" dirty="0">
                <a:latin typeface="微软雅黑" panose="020B0503020204020204" pitchFamily="34" charset="-122"/>
                <a:ea typeface="微软雅黑" panose="020B0503020204020204" pitchFamily="34" charset="-122"/>
              </a:rPr>
              <a:t>治疗组与安慰剂相比均具有统计学意义和临床意义，无论导入期间的发作次数、既往长期预防史或是否有喉部发作史。与安慰剂组相比，</a:t>
            </a:r>
            <a:r>
              <a:rPr lang="en-US" altLang="zh-CN" sz="1400" i="1" dirty="0">
                <a:latin typeface="微软雅黑" panose="020B0503020204020204" pitchFamily="34" charset="-122"/>
                <a:ea typeface="微软雅黑" panose="020B0503020204020204" pitchFamily="34" charset="-122"/>
              </a:rPr>
              <a:t>3</a:t>
            </a:r>
            <a:r>
              <a:rPr lang="zh-CN" altLang="en-US" sz="1400" i="1" dirty="0">
                <a:latin typeface="微软雅黑" panose="020B0503020204020204" pitchFamily="34" charset="-122"/>
                <a:ea typeface="微软雅黑" panose="020B0503020204020204" pitchFamily="34" charset="-122"/>
              </a:rPr>
              <a:t>个</a:t>
            </a:r>
            <a:r>
              <a:rPr lang="en-US" altLang="zh-CN" sz="1400" i="1" dirty="0" err="1">
                <a:latin typeface="微软雅黑" panose="020B0503020204020204" pitchFamily="34" charset="-122"/>
                <a:ea typeface="微软雅黑" panose="020B0503020204020204" pitchFamily="34" charset="-122"/>
              </a:rPr>
              <a:t>Lanadelumab</a:t>
            </a:r>
            <a:r>
              <a:rPr lang="zh-CN" altLang="en-US" sz="1400" i="1" dirty="0">
                <a:latin typeface="微软雅黑" panose="020B0503020204020204" pitchFamily="34" charset="-122"/>
                <a:ea typeface="微软雅黑" panose="020B0503020204020204" pitchFamily="34" charset="-122"/>
              </a:rPr>
              <a:t>治疗组中经研究者确认的</a:t>
            </a:r>
            <a:r>
              <a:rPr lang="en-US" altLang="zh-CN" sz="1400" i="1" dirty="0">
                <a:latin typeface="微软雅黑" panose="020B0503020204020204" pitchFamily="34" charset="-122"/>
                <a:ea typeface="微软雅黑" panose="020B0503020204020204" pitchFamily="34" charset="-122"/>
              </a:rPr>
              <a:t>HAE</a:t>
            </a:r>
            <a:r>
              <a:rPr lang="zh-CN" altLang="en-US" sz="1400" i="1" dirty="0">
                <a:latin typeface="微软雅黑" panose="020B0503020204020204" pitchFamily="34" charset="-122"/>
                <a:ea typeface="微软雅黑" panose="020B0503020204020204" pitchFamily="34" charset="-122"/>
              </a:rPr>
              <a:t>发作分别下降</a:t>
            </a:r>
            <a:r>
              <a:rPr lang="en-US" altLang="zh-CN" sz="1400" i="1" dirty="0">
                <a:latin typeface="微软雅黑" panose="020B0503020204020204" pitchFamily="34" charset="-122"/>
                <a:ea typeface="微软雅黑" panose="020B0503020204020204" pitchFamily="34" charset="-122"/>
              </a:rPr>
              <a:t>75.6%</a:t>
            </a:r>
            <a:r>
              <a:rPr lang="zh-CN" altLang="en-US" sz="1400" i="1" dirty="0">
                <a:latin typeface="微软雅黑" panose="020B0503020204020204" pitchFamily="34" charset="-122"/>
                <a:ea typeface="微软雅黑" panose="020B0503020204020204" pitchFamily="34" charset="-122"/>
              </a:rPr>
              <a:t>、</a:t>
            </a:r>
            <a:r>
              <a:rPr lang="en-US" altLang="zh-CN" sz="1400" i="1" dirty="0">
                <a:latin typeface="微软雅黑" panose="020B0503020204020204" pitchFamily="34" charset="-122"/>
                <a:ea typeface="微软雅黑" panose="020B0503020204020204" pitchFamily="34" charset="-122"/>
              </a:rPr>
              <a:t>73.3%</a:t>
            </a:r>
            <a:r>
              <a:rPr lang="zh-CN" altLang="en-US" sz="1400" i="1" dirty="0">
                <a:latin typeface="微软雅黑" panose="020B0503020204020204" pitchFamily="34" charset="-122"/>
                <a:ea typeface="微软雅黑" panose="020B0503020204020204" pitchFamily="34" charset="-122"/>
              </a:rPr>
              <a:t>和</a:t>
            </a:r>
            <a:r>
              <a:rPr lang="en-US" altLang="zh-CN" sz="1400" i="1" dirty="0">
                <a:latin typeface="微软雅黑" panose="020B0503020204020204" pitchFamily="34" charset="-122"/>
                <a:ea typeface="微软雅黑" panose="020B0503020204020204" pitchFamily="34" charset="-122"/>
              </a:rPr>
              <a:t>86.9%</a:t>
            </a:r>
            <a:r>
              <a:rPr lang="zh-CN" altLang="en-US" sz="1400" i="1" dirty="0">
                <a:latin typeface="微软雅黑" panose="020B0503020204020204" pitchFamily="34" charset="-122"/>
                <a:ea typeface="微软雅黑" panose="020B0503020204020204" pitchFamily="34" charset="-122"/>
              </a:rPr>
              <a:t>（</a:t>
            </a:r>
            <a:r>
              <a:rPr lang="en-US" altLang="zh-CN" sz="1400" i="1" dirty="0">
                <a:latin typeface="微软雅黑" panose="020B0503020204020204" pitchFamily="34" charset="-122"/>
                <a:ea typeface="微软雅黑" panose="020B0503020204020204" pitchFamily="34" charset="-122"/>
              </a:rPr>
              <a:t>p&lt;0.001</a:t>
            </a:r>
            <a:r>
              <a:rPr lang="zh-CN" altLang="en-US" sz="1400" i="1" dirty="0">
                <a:latin typeface="微软雅黑" panose="020B0503020204020204" pitchFamily="34" charset="-122"/>
                <a:ea typeface="微软雅黑" panose="020B0503020204020204" pitchFamily="34" charset="-122"/>
              </a:rPr>
              <a:t>），</a:t>
            </a:r>
            <a:r>
              <a:rPr lang="en-US" altLang="zh-CN" sz="1400" i="1" dirty="0" err="1">
                <a:latin typeface="微软雅黑" panose="020B0503020204020204" pitchFamily="34" charset="-122"/>
                <a:ea typeface="微软雅黑" panose="020B0503020204020204" pitchFamily="34" charset="-122"/>
              </a:rPr>
              <a:t>Lanadelumab</a:t>
            </a:r>
            <a:r>
              <a:rPr lang="en-US" altLang="zh-CN" sz="1400" i="1" dirty="0">
                <a:latin typeface="微软雅黑" panose="020B0503020204020204" pitchFamily="34" charset="-122"/>
                <a:ea typeface="微软雅黑" panose="020B0503020204020204" pitchFamily="34" charset="-122"/>
              </a:rPr>
              <a:t> 300 mg q2wks</a:t>
            </a:r>
            <a:r>
              <a:rPr lang="zh-CN" altLang="en-US" sz="1400" i="1" dirty="0">
                <a:latin typeface="微软雅黑" panose="020B0503020204020204" pitchFamily="34" charset="-122"/>
                <a:ea typeface="微软雅黑" panose="020B0503020204020204" pitchFamily="34" charset="-122"/>
              </a:rPr>
              <a:t>组治疗效应在数值上最高</a:t>
            </a:r>
            <a:endParaRPr lang="en-US" sz="1400" i="1" dirty="0">
              <a:latin typeface="微软雅黑" panose="020B0503020204020204" pitchFamily="34" charset="-122"/>
              <a:ea typeface="微软雅黑" panose="020B0503020204020204" pitchFamily="34" charset="-122"/>
            </a:endParaRPr>
          </a:p>
        </p:txBody>
      </p:sp>
      <p:sp>
        <p:nvSpPr>
          <p:cNvPr id="4" name="矩形: 圆角 3">
            <a:extLst>
              <a:ext uri="{FF2B5EF4-FFF2-40B4-BE49-F238E27FC236}">
                <a16:creationId xmlns:a16="http://schemas.microsoft.com/office/drawing/2014/main" id="{A94F2D07-BF95-478E-BEDF-DFA6D5100F39}"/>
              </a:ext>
            </a:extLst>
          </p:cNvPr>
          <p:cNvSpPr/>
          <p:nvPr/>
        </p:nvSpPr>
        <p:spPr>
          <a:xfrm>
            <a:off x="2138362" y="4791588"/>
            <a:ext cx="9558338" cy="1625085"/>
          </a:xfrm>
          <a:prstGeom prst="roundRect">
            <a:avLst>
              <a:gd name="adj" fmla="val 14872"/>
            </a:avLst>
          </a:prstGeom>
          <a:noFill/>
          <a:ln w="19050">
            <a:solidFill>
              <a:schemeClr val="accent2"/>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en-US"/>
          </a:p>
        </p:txBody>
      </p:sp>
    </p:spTree>
    <p:extLst>
      <p:ext uri="{BB962C8B-B14F-4D97-AF65-F5344CB8AC3E}">
        <p14:creationId xmlns:p14="http://schemas.microsoft.com/office/powerpoint/2010/main" val="33243331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 name="矩形: 圆角 173">
            <a:extLst>
              <a:ext uri="{FF2B5EF4-FFF2-40B4-BE49-F238E27FC236}">
                <a16:creationId xmlns:a16="http://schemas.microsoft.com/office/drawing/2014/main" id="{654E6CC5-616A-4E53-ADAE-E23475D8E3D8}"/>
              </a:ext>
            </a:extLst>
          </p:cNvPr>
          <p:cNvSpPr/>
          <p:nvPr/>
        </p:nvSpPr>
        <p:spPr>
          <a:xfrm>
            <a:off x="3215264" y="2918854"/>
            <a:ext cx="2718386" cy="2969314"/>
          </a:xfrm>
          <a:prstGeom prst="roundRect">
            <a:avLst>
              <a:gd name="adj" fmla="val 6914"/>
            </a:avLst>
          </a:prstGeom>
          <a:noFill/>
          <a:ln w="19050">
            <a:solidFill>
              <a:schemeClr val="accent2"/>
            </a:solidFill>
            <a:prstDash val="dashDot"/>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rtlCol="0" anchor="ctr"/>
          <a:lstStyle/>
          <a:p>
            <a:pPr algn="ctr"/>
            <a:endParaRPr kumimoji="1" lang="en-US" altLang="zh-CN" sz="1400"/>
          </a:p>
          <a:p>
            <a:pPr algn="ctr"/>
            <a:endParaRPr kumimoji="1" lang="zh-CN" altLang="en-US" sz="1400"/>
          </a:p>
          <a:p>
            <a:pPr algn="ctr"/>
            <a:endParaRPr kumimoji="1" lang="zh-CN" altLang="en-US" sz="1400"/>
          </a:p>
        </p:txBody>
      </p:sp>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a:xfrm>
            <a:off x="1038225" y="209230"/>
            <a:ext cx="9508106" cy="685801"/>
          </a:xfrm>
        </p:spPr>
        <p:txBody>
          <a:bodyPr>
            <a:normAutofit/>
          </a:bodyPr>
          <a:lstStyle/>
          <a:p>
            <a:r>
              <a:rPr lang="zh-CN" altLang="en-US" sz="3200" dirty="0">
                <a:solidFill>
                  <a:srgbClr val="1A1918"/>
                </a:solidFill>
                <a:latin typeface="微软雅黑" panose="020B0503020204020204" pitchFamily="34" charset="-122"/>
                <a:ea typeface="微软雅黑" panose="020B0503020204020204" pitchFamily="34" charset="-122"/>
              </a:rPr>
              <a:t>创新性</a:t>
            </a:r>
          </a:p>
        </p:txBody>
      </p:sp>
      <p:sp>
        <p:nvSpPr>
          <p:cNvPr id="22" name="椭圆 21">
            <a:extLst>
              <a:ext uri="{FF2B5EF4-FFF2-40B4-BE49-F238E27FC236}">
                <a16:creationId xmlns:a16="http://schemas.microsoft.com/office/drawing/2014/main" id="{5F530736-32AD-42C7-B3FC-79FE10B74A3A}"/>
              </a:ext>
            </a:extLst>
          </p:cNvPr>
          <p:cNvSpPr/>
          <p:nvPr/>
        </p:nvSpPr>
        <p:spPr>
          <a:xfrm>
            <a:off x="616186" y="315174"/>
            <a:ext cx="360000" cy="360000"/>
          </a:xfrm>
          <a:prstGeom prst="ellipse">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4</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5" name="Text Placeholder 5">
            <a:extLst>
              <a:ext uri="{FF2B5EF4-FFF2-40B4-BE49-F238E27FC236}">
                <a16:creationId xmlns:a16="http://schemas.microsoft.com/office/drawing/2014/main" id="{B3732146-12B2-4F63-8D34-E17C53F16CFA}"/>
              </a:ext>
            </a:extLst>
          </p:cNvPr>
          <p:cNvSpPr txBox="1">
            <a:spLocks/>
          </p:cNvSpPr>
          <p:nvPr/>
        </p:nvSpPr>
        <p:spPr>
          <a:xfrm>
            <a:off x="1038222" y="817217"/>
            <a:ext cx="10853739" cy="685801"/>
          </a:xfrm>
          <a:prstGeom prst="rect">
            <a:avLst/>
          </a:prstGeom>
        </p:spPr>
        <p:txBody>
          <a:bodyP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zh-CN" sz="1800" b="1" dirty="0">
                <a:solidFill>
                  <a:srgbClr val="1A1918"/>
                </a:solidFill>
                <a:latin typeface="微软雅黑" panose="020B0503020204020204" pitchFamily="34" charset="-122"/>
                <a:ea typeface="微软雅黑" panose="020B0503020204020204" pitchFamily="34" charset="-122"/>
              </a:rPr>
              <a:t>——</a:t>
            </a:r>
            <a:r>
              <a:rPr lang="zh-CN" altLang="en-US" sz="1800" b="1" dirty="0">
                <a:solidFill>
                  <a:srgbClr val="1A1918"/>
                </a:solidFill>
                <a:latin typeface="微软雅黑" panose="020B0503020204020204" pitchFamily="34" charset="-122"/>
                <a:ea typeface="微软雅黑" panose="020B0503020204020204" pitchFamily="34" charset="-122"/>
              </a:rPr>
              <a:t>目前全球首个且唯一用于</a:t>
            </a:r>
            <a:r>
              <a:rPr lang="en-US" altLang="zh-CN" sz="1800" b="1" dirty="0">
                <a:solidFill>
                  <a:srgbClr val="1A1918"/>
                </a:solidFill>
                <a:latin typeface="微软雅黑" panose="020B0503020204020204" pitchFamily="34" charset="-122"/>
                <a:ea typeface="微软雅黑" panose="020B0503020204020204" pitchFamily="34" charset="-122"/>
              </a:rPr>
              <a:t>HAE</a:t>
            </a:r>
            <a:r>
              <a:rPr lang="zh-CN" altLang="en-US" sz="1800" b="1" dirty="0">
                <a:solidFill>
                  <a:srgbClr val="1A1918"/>
                </a:solidFill>
                <a:latin typeface="微软雅黑" panose="020B0503020204020204" pitchFamily="34" charset="-122"/>
                <a:ea typeface="微软雅黑" panose="020B0503020204020204" pitchFamily="34" charset="-122"/>
              </a:rPr>
              <a:t>针对性治疗的全人源单克隆抗体，获</a:t>
            </a:r>
            <a:r>
              <a:rPr lang="en-US" altLang="zh-CN" sz="1800" b="1" dirty="0">
                <a:solidFill>
                  <a:srgbClr val="1A1918"/>
                </a:solidFill>
                <a:latin typeface="微软雅黑" panose="020B0503020204020204" pitchFamily="34" charset="-122"/>
                <a:ea typeface="微软雅黑" panose="020B0503020204020204" pitchFamily="34" charset="-122"/>
              </a:rPr>
              <a:t>FDA</a:t>
            </a:r>
            <a:r>
              <a:rPr lang="zh-CN" altLang="en-US" sz="1800" b="1" dirty="0">
                <a:solidFill>
                  <a:srgbClr val="1A1918"/>
                </a:solidFill>
                <a:latin typeface="微软雅黑" panose="020B0503020204020204" pitchFamily="34" charset="-122"/>
                <a:ea typeface="微软雅黑" panose="020B0503020204020204" pitchFamily="34" charset="-122"/>
              </a:rPr>
              <a:t>优先评审、突破性疗法及孤儿药认定</a:t>
            </a:r>
          </a:p>
        </p:txBody>
      </p:sp>
      <p:sp>
        <p:nvSpPr>
          <p:cNvPr id="24" name="文本框 23">
            <a:extLst>
              <a:ext uri="{FF2B5EF4-FFF2-40B4-BE49-F238E27FC236}">
                <a16:creationId xmlns:a16="http://schemas.microsoft.com/office/drawing/2014/main" id="{B98F0CDD-7ECE-44CB-9C1B-8CF8CFEB6F7C}"/>
              </a:ext>
            </a:extLst>
          </p:cNvPr>
          <p:cNvSpPr txBox="1"/>
          <p:nvPr/>
        </p:nvSpPr>
        <p:spPr>
          <a:xfrm>
            <a:off x="579773" y="6483798"/>
            <a:ext cx="11312189" cy="253916"/>
          </a:xfrm>
          <a:prstGeom prst="rect">
            <a:avLst/>
          </a:prstGeom>
          <a:noFill/>
        </p:spPr>
        <p:txBody>
          <a:bodyPr wrap="square">
            <a:spAutoFit/>
          </a:bodyPr>
          <a:lstStyle/>
          <a:p>
            <a:r>
              <a:rPr kumimoji="1" lang="zh-CN" altLang="en-US" sz="1000">
                <a:solidFill>
                  <a:srgbClr val="1A1918"/>
                </a:solidFill>
                <a:latin typeface="微软雅黑" panose="020B0503020204020204" pitchFamily="34" charset="-122"/>
                <a:ea typeface="微软雅黑" panose="020B0503020204020204" pitchFamily="34" charset="-122"/>
              </a:rPr>
              <a:t>参考文献：</a:t>
            </a:r>
            <a:r>
              <a:rPr kumimoji="1" lang="en-US" altLang="zh-CN" sz="1000">
                <a:solidFill>
                  <a:srgbClr val="1A1918"/>
                </a:solidFill>
                <a:latin typeface="微软雅黑" panose="020B0503020204020204" pitchFamily="34" charset="-122"/>
                <a:ea typeface="微软雅黑" panose="020B0503020204020204" pitchFamily="34" charset="-122"/>
              </a:rPr>
              <a:t>1. FDA</a:t>
            </a:r>
            <a:r>
              <a:rPr kumimoji="1" lang="zh-CN" altLang="en-US" sz="1000">
                <a:solidFill>
                  <a:srgbClr val="1A1918"/>
                </a:solidFill>
                <a:latin typeface="微软雅黑" panose="020B0503020204020204" pitchFamily="34" charset="-122"/>
                <a:ea typeface="微软雅黑" panose="020B0503020204020204" pitchFamily="34" charset="-122"/>
              </a:rPr>
              <a:t>公示文件；</a:t>
            </a:r>
            <a:r>
              <a:rPr kumimoji="1" lang="en-US" altLang="zh-CN" sz="1000">
                <a:solidFill>
                  <a:srgbClr val="1A1918"/>
                </a:solidFill>
                <a:latin typeface="微软雅黑" panose="020B0503020204020204" pitchFamily="34" charset="-122"/>
                <a:ea typeface="微软雅黑" panose="020B0503020204020204" pitchFamily="34" charset="-122"/>
              </a:rPr>
              <a:t>2. </a:t>
            </a:r>
            <a:r>
              <a:rPr kumimoji="1" lang="zh-CN" altLang="en-US" sz="1000">
                <a:solidFill>
                  <a:srgbClr val="1A1918"/>
                </a:solidFill>
                <a:latin typeface="微软雅黑" panose="020B0503020204020204" pitchFamily="34" charset="-122"/>
                <a:ea typeface="微软雅黑" panose="020B0503020204020204" pitchFamily="34" charset="-122"/>
              </a:rPr>
              <a:t>血浆激肽释放酶结合蛋白发明专利证书</a:t>
            </a:r>
            <a:endParaRPr lang="zh-CN" altLang="en-US" sz="1000"/>
          </a:p>
        </p:txBody>
      </p:sp>
      <p:sp>
        <p:nvSpPr>
          <p:cNvPr id="8" name="文本框 7">
            <a:extLst>
              <a:ext uri="{FF2B5EF4-FFF2-40B4-BE49-F238E27FC236}">
                <a16:creationId xmlns:a16="http://schemas.microsoft.com/office/drawing/2014/main" id="{53057F97-4FA6-4C5A-BB7D-73690B75CA6E}"/>
              </a:ext>
            </a:extLst>
          </p:cNvPr>
          <p:cNvSpPr txBox="1"/>
          <p:nvPr/>
        </p:nvSpPr>
        <p:spPr>
          <a:xfrm>
            <a:off x="606078" y="1423988"/>
            <a:ext cx="11304588" cy="738664"/>
          </a:xfrm>
          <a:prstGeom prst="rect">
            <a:avLst/>
          </a:prstGeom>
          <a:noFill/>
        </p:spPr>
        <p:txBody>
          <a:bodyPr wrap="square">
            <a:spAutoFit/>
          </a:bodyPr>
          <a:lstStyle/>
          <a:p>
            <a:pPr marL="171450" indent="-171450" algn="l">
              <a:buFont typeface="Arial" panose="020B0604020202020204" pitchFamily="34" charset="0"/>
              <a:buChar char="•"/>
            </a:pPr>
            <a:r>
              <a:rPr lang="zh-CN" altLang="en-US" sz="1400" u="none" strike="noStrike" baseline="0" dirty="0">
                <a:solidFill>
                  <a:srgbClr val="080808"/>
                </a:solidFill>
                <a:latin typeface="微软雅黑" panose="020B0503020204020204" pitchFamily="34" charset="-122"/>
                <a:ea typeface="微软雅黑" panose="020B0503020204020204" pitchFamily="34" charset="-122"/>
              </a:rPr>
              <a:t>拉那利尤单抗</a:t>
            </a:r>
            <a:r>
              <a:rPr lang="zh-CN" altLang="en-US" sz="1400" dirty="0">
                <a:solidFill>
                  <a:srgbClr val="080808"/>
                </a:solidFill>
                <a:latin typeface="微软雅黑" panose="020B0503020204020204" pitchFamily="34" charset="-122"/>
                <a:ea typeface="微软雅黑" panose="020B0503020204020204" pitchFamily="34" charset="-122"/>
              </a:rPr>
              <a:t>可特异性结合并抑制血浆激肽释放酶，直接阻止缓激肽生成</a:t>
            </a:r>
            <a:r>
              <a:rPr lang="zh-CN" altLang="en-US" sz="1400" u="none" strike="noStrike" baseline="0" dirty="0">
                <a:solidFill>
                  <a:srgbClr val="080808"/>
                </a:solidFill>
                <a:latin typeface="微软雅黑" panose="020B0503020204020204" pitchFamily="34" charset="-122"/>
                <a:ea typeface="微软雅黑" panose="020B0503020204020204" pitchFamily="34" charset="-122"/>
              </a:rPr>
              <a:t>，填补中国长期无针对性治疗的空白，</a:t>
            </a:r>
            <a:r>
              <a:rPr lang="zh-CN" altLang="en-US" sz="1400" b="1" u="none" strike="noStrike" baseline="0" dirty="0">
                <a:solidFill>
                  <a:schemeClr val="accent2"/>
                </a:solidFill>
                <a:latin typeface="微软雅黑" panose="020B0503020204020204" pitchFamily="34" charset="-122"/>
                <a:ea typeface="微软雅黑" panose="020B0503020204020204" pitchFamily="34" charset="-122"/>
              </a:rPr>
              <a:t>使中国</a:t>
            </a:r>
            <a:r>
              <a:rPr lang="en-US" altLang="zh-CN" sz="1400" b="1" u="none" strike="noStrike" baseline="0" dirty="0">
                <a:solidFill>
                  <a:schemeClr val="accent2"/>
                </a:solidFill>
                <a:latin typeface="微软雅黑" panose="020B0503020204020204" pitchFamily="34" charset="-122"/>
                <a:ea typeface="微软雅黑" panose="020B0503020204020204" pitchFamily="34" charset="-122"/>
              </a:rPr>
              <a:t>HAE</a:t>
            </a:r>
            <a:r>
              <a:rPr lang="zh-CN" altLang="en-US" sz="1400" b="1" u="none" strike="noStrike" baseline="0" dirty="0">
                <a:solidFill>
                  <a:schemeClr val="accent2"/>
                </a:solidFill>
                <a:latin typeface="微软雅黑" panose="020B0503020204020204" pitchFamily="34" charset="-122"/>
                <a:ea typeface="微软雅黑" panose="020B0503020204020204" pitchFamily="34" charset="-122"/>
              </a:rPr>
              <a:t>患者直接从无针对性治疗方案，进入实现潜在“零”发作的治疗阶段</a:t>
            </a:r>
            <a:endParaRPr lang="en-US" altLang="zh-CN" sz="1400" b="1" u="none" strike="noStrike" baseline="0" dirty="0">
              <a:solidFill>
                <a:schemeClr val="accent2"/>
              </a:solidFill>
              <a:latin typeface="微软雅黑" panose="020B0503020204020204" pitchFamily="34" charset="-122"/>
              <a:ea typeface="微软雅黑" panose="020B0503020204020204" pitchFamily="34" charset="-122"/>
            </a:endParaRPr>
          </a:p>
          <a:p>
            <a:pPr marL="171450" indent="-171450" algn="l">
              <a:buFont typeface="Arial" panose="020B0604020202020204" pitchFamily="34" charset="0"/>
              <a:buChar char="•"/>
            </a:pPr>
            <a:r>
              <a:rPr lang="zh-CN" altLang="en-US" sz="1400" u="none" strike="noStrike" baseline="0" dirty="0">
                <a:solidFill>
                  <a:srgbClr val="080808"/>
                </a:solidFill>
                <a:latin typeface="微软雅黑" panose="020B0503020204020204" pitchFamily="34" charset="-122"/>
                <a:ea typeface="微软雅黑" panose="020B0503020204020204" pitchFamily="34" charset="-122"/>
              </a:rPr>
              <a:t>拉那利尤单抗获</a:t>
            </a:r>
            <a:r>
              <a:rPr lang="en-US" altLang="zh-CN" sz="1400" b="1" u="none" strike="noStrike" baseline="0" dirty="0">
                <a:solidFill>
                  <a:schemeClr val="accent2"/>
                </a:solidFill>
                <a:latin typeface="微软雅黑" panose="020B0503020204020204" pitchFamily="34" charset="-122"/>
                <a:ea typeface="微软雅黑" panose="020B0503020204020204" pitchFamily="34" charset="-122"/>
              </a:rPr>
              <a:t>FDA</a:t>
            </a:r>
            <a:r>
              <a:rPr lang="zh-CN" altLang="en-US" sz="1400" b="1" u="none" strike="noStrike" baseline="0" dirty="0">
                <a:solidFill>
                  <a:schemeClr val="accent2"/>
                </a:solidFill>
                <a:latin typeface="微软雅黑" panose="020B0503020204020204" pitchFamily="34" charset="-122"/>
                <a:ea typeface="微软雅黑" panose="020B0503020204020204" pitchFamily="34" charset="-122"/>
              </a:rPr>
              <a:t>授予优先评审、突破性疗法认定及孤儿药认定</a:t>
            </a:r>
            <a:r>
              <a:rPr lang="zh-CN" altLang="en-US" sz="1400" u="none" strike="noStrike" baseline="0" dirty="0">
                <a:solidFill>
                  <a:srgbClr val="080808"/>
                </a:solidFill>
                <a:latin typeface="微软雅黑" panose="020B0503020204020204" pitchFamily="34" charset="-122"/>
                <a:ea typeface="微软雅黑" panose="020B0503020204020204" pitchFamily="34" charset="-122"/>
              </a:rPr>
              <a:t>，同时</a:t>
            </a:r>
            <a:r>
              <a:rPr lang="zh-CN" altLang="en-US" sz="1400" b="1" u="none" strike="noStrike" baseline="0" dirty="0">
                <a:solidFill>
                  <a:schemeClr val="accent2"/>
                </a:solidFill>
                <a:latin typeface="微软雅黑" panose="020B0503020204020204" pitchFamily="34" charset="-122"/>
                <a:ea typeface="微软雅黑" panose="020B0503020204020204" pitchFamily="34" charset="-122"/>
              </a:rPr>
              <a:t>血浆激肽释放酶结合蛋白在国内已获得发明专利</a:t>
            </a:r>
            <a:endParaRPr lang="en-US" altLang="zh-CN" sz="1400" b="1" u="none" strike="noStrike" baseline="0" dirty="0">
              <a:solidFill>
                <a:schemeClr val="accent2"/>
              </a:solidFill>
              <a:latin typeface="微软雅黑" panose="020B0503020204020204" pitchFamily="34" charset="-122"/>
              <a:ea typeface="微软雅黑" panose="020B0503020204020204" pitchFamily="34" charset="-122"/>
            </a:endParaRPr>
          </a:p>
        </p:txBody>
      </p:sp>
      <p:sp>
        <p:nvSpPr>
          <p:cNvPr id="20" name="矩形: 圆角 19">
            <a:extLst>
              <a:ext uri="{FF2B5EF4-FFF2-40B4-BE49-F238E27FC236}">
                <a16:creationId xmlns:a16="http://schemas.microsoft.com/office/drawing/2014/main" id="{3E565173-77AE-42A9-B95F-76E2BAEDEAC3}"/>
              </a:ext>
            </a:extLst>
          </p:cNvPr>
          <p:cNvSpPr/>
          <p:nvPr/>
        </p:nvSpPr>
        <p:spPr>
          <a:xfrm>
            <a:off x="579774" y="2385331"/>
            <a:ext cx="5552740" cy="3888469"/>
          </a:xfrm>
          <a:prstGeom prst="roundRect">
            <a:avLst>
              <a:gd name="adj" fmla="val 5248"/>
            </a:avLst>
          </a:prstGeom>
          <a:noFill/>
          <a:ln w="19050">
            <a:solidFill>
              <a:schemeClr val="accent2"/>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pic>
        <p:nvPicPr>
          <p:cNvPr id="130" name="图片 129">
            <a:extLst>
              <a:ext uri="{FF2B5EF4-FFF2-40B4-BE49-F238E27FC236}">
                <a16:creationId xmlns:a16="http://schemas.microsoft.com/office/drawing/2014/main" id="{3923170C-A3E3-4937-AD29-55608DFCC486}"/>
              </a:ext>
            </a:extLst>
          </p:cNvPr>
          <p:cNvPicPr/>
          <p:nvPr/>
        </p:nvPicPr>
        <p:blipFill>
          <a:blip r:embed="rId7"/>
          <a:stretch>
            <a:fillRect/>
          </a:stretch>
        </p:blipFill>
        <p:spPr>
          <a:xfrm>
            <a:off x="6620103" y="2981372"/>
            <a:ext cx="2370838" cy="2997578"/>
          </a:xfrm>
          <a:prstGeom prst="rect">
            <a:avLst/>
          </a:prstGeom>
          <a:effectLst>
            <a:outerShdw blurRad="50800" dist="38100" dir="2700000" algn="tl" rotWithShape="0">
              <a:prstClr val="black">
                <a:alpha val="40000"/>
              </a:prstClr>
            </a:outerShdw>
          </a:effectLst>
        </p:spPr>
      </p:pic>
      <p:pic>
        <p:nvPicPr>
          <p:cNvPr id="131" name="图片 130">
            <a:extLst>
              <a:ext uri="{FF2B5EF4-FFF2-40B4-BE49-F238E27FC236}">
                <a16:creationId xmlns:a16="http://schemas.microsoft.com/office/drawing/2014/main" id="{34F9C539-B2A3-44D4-B21B-0228947408D8}"/>
              </a:ext>
            </a:extLst>
          </p:cNvPr>
          <p:cNvPicPr/>
          <p:nvPr/>
        </p:nvPicPr>
        <p:blipFill>
          <a:blip r:embed="rId8"/>
          <a:stretch>
            <a:fillRect/>
          </a:stretch>
        </p:blipFill>
        <p:spPr>
          <a:xfrm>
            <a:off x="9310069" y="2965542"/>
            <a:ext cx="2205356" cy="2991754"/>
          </a:xfrm>
          <a:prstGeom prst="rect">
            <a:avLst/>
          </a:prstGeom>
          <a:effectLst>
            <a:outerShdw blurRad="50800" dist="38100" dir="2700000" algn="tl" rotWithShape="0">
              <a:prstClr val="black">
                <a:alpha val="40000"/>
              </a:prstClr>
            </a:outerShdw>
          </a:effectLst>
        </p:spPr>
      </p:pic>
      <p:sp>
        <p:nvSpPr>
          <p:cNvPr id="136" name="矩形 135">
            <a:extLst>
              <a:ext uri="{FF2B5EF4-FFF2-40B4-BE49-F238E27FC236}">
                <a16:creationId xmlns:a16="http://schemas.microsoft.com/office/drawing/2014/main" id="{67C65F94-06C9-4544-A1B1-82EEA30963DC}"/>
              </a:ext>
            </a:extLst>
          </p:cNvPr>
          <p:cNvSpPr/>
          <p:nvPr/>
        </p:nvSpPr>
        <p:spPr>
          <a:xfrm>
            <a:off x="1429316" y="2208141"/>
            <a:ext cx="4453903" cy="371662"/>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rgbClr val="1A1918"/>
                </a:solidFill>
                <a:latin typeface="微软雅黑" panose="020B0503020204020204" pitchFamily="34" charset="-122"/>
                <a:ea typeface="微软雅黑" panose="020B0503020204020204" pitchFamily="34" charset="-122"/>
                <a:sym typeface="Arial" panose="020B0604020202020204" pitchFamily="34" charset="0"/>
              </a:rPr>
              <a:t>拉那利尤单抗特异性结合并抑制血浆激肽释放酶</a:t>
            </a:r>
            <a:endParaRPr kumimoji="1" lang="zh-CN" altLang="zh-CN" sz="1600" b="1" baseline="30000" dirty="0">
              <a:solidFill>
                <a:srgbClr val="1A1918"/>
              </a:solidFill>
              <a:latin typeface="微软雅黑" panose="020B0503020204020204" pitchFamily="34" charset="-122"/>
              <a:ea typeface="微软雅黑" panose="020B0503020204020204" pitchFamily="34" charset="-122"/>
              <a:sym typeface="Arial" panose="020B0604020202020204" pitchFamily="34" charset="0"/>
            </a:endParaRPr>
          </a:p>
        </p:txBody>
      </p:sp>
      <p:grpSp>
        <p:nvGrpSpPr>
          <p:cNvPr id="137" name="Group 162">
            <a:extLst>
              <a:ext uri="{FF2B5EF4-FFF2-40B4-BE49-F238E27FC236}">
                <a16:creationId xmlns:a16="http://schemas.microsoft.com/office/drawing/2014/main" id="{DFBE26FE-B0E2-47DB-8244-C449C9A1E5BE}"/>
              </a:ext>
            </a:extLst>
          </p:cNvPr>
          <p:cNvGrpSpPr/>
          <p:nvPr/>
        </p:nvGrpSpPr>
        <p:grpSpPr>
          <a:xfrm>
            <a:off x="1038199" y="2203936"/>
            <a:ext cx="396000" cy="396000"/>
            <a:chOff x="3425315" y="-4815154"/>
            <a:chExt cx="6468011" cy="6468011"/>
          </a:xfrm>
          <a:effectLst>
            <a:outerShdw blurRad="50800" dist="38100" dir="2700000" algn="tl" rotWithShape="0">
              <a:prstClr val="black">
                <a:alpha val="40000"/>
              </a:prstClr>
            </a:outerShdw>
          </a:effectLst>
        </p:grpSpPr>
        <p:sp>
          <p:nvSpPr>
            <p:cNvPr id="138" name="Freeform 70">
              <a:extLst>
                <a:ext uri="{FF2B5EF4-FFF2-40B4-BE49-F238E27FC236}">
                  <a16:creationId xmlns:a16="http://schemas.microsoft.com/office/drawing/2014/main" id="{7050F840-4C88-486A-81D9-A9D8A1B7FF51}"/>
                </a:ext>
              </a:extLst>
            </p:cNvPr>
            <p:cNvSpPr>
              <a:spLocks/>
            </p:cNvSpPr>
            <p:nvPr/>
          </p:nvSpPr>
          <p:spPr bwMode="auto">
            <a:xfrm>
              <a:off x="3425315" y="-4815154"/>
              <a:ext cx="6468011" cy="6468011"/>
            </a:xfrm>
            <a:custGeom>
              <a:avLst/>
              <a:gdLst/>
              <a:ahLst/>
              <a:cxnLst>
                <a:cxn ang="0">
                  <a:pos x="4780" y="2576"/>
                </a:cxn>
                <a:cxn ang="0">
                  <a:pos x="4738" y="2874"/>
                </a:cxn>
                <a:cxn ang="0">
                  <a:pos x="4660" y="3160"/>
                </a:cxn>
                <a:cxn ang="0">
                  <a:pos x="4550" y="3430"/>
                </a:cxn>
                <a:cxn ang="0">
                  <a:pos x="4410" y="3682"/>
                </a:cxn>
                <a:cxn ang="0">
                  <a:pos x="4240" y="3914"/>
                </a:cxn>
                <a:cxn ang="0">
                  <a:pos x="4044" y="4124"/>
                </a:cxn>
                <a:cxn ang="0">
                  <a:pos x="3826" y="4310"/>
                </a:cxn>
                <a:cxn ang="0">
                  <a:pos x="3584" y="4468"/>
                </a:cxn>
                <a:cxn ang="0">
                  <a:pos x="3324" y="4598"/>
                </a:cxn>
                <a:cxn ang="0">
                  <a:pos x="3048" y="4694"/>
                </a:cxn>
                <a:cxn ang="0">
                  <a:pos x="2758" y="4758"/>
                </a:cxn>
                <a:cxn ang="0">
                  <a:pos x="2456" y="4784"/>
                </a:cxn>
                <a:cxn ang="0">
                  <a:pos x="2210" y="4778"/>
                </a:cxn>
                <a:cxn ang="0">
                  <a:pos x="1912" y="4736"/>
                </a:cxn>
                <a:cxn ang="0">
                  <a:pos x="1626" y="4660"/>
                </a:cxn>
                <a:cxn ang="0">
                  <a:pos x="1356" y="4550"/>
                </a:cxn>
                <a:cxn ang="0">
                  <a:pos x="1104" y="4408"/>
                </a:cxn>
                <a:cxn ang="0">
                  <a:pos x="872" y="4238"/>
                </a:cxn>
                <a:cxn ang="0">
                  <a:pos x="662" y="4044"/>
                </a:cxn>
                <a:cxn ang="0">
                  <a:pos x="476" y="3824"/>
                </a:cxn>
                <a:cxn ang="0">
                  <a:pos x="318" y="3584"/>
                </a:cxn>
                <a:cxn ang="0">
                  <a:pos x="188" y="3324"/>
                </a:cxn>
                <a:cxn ang="0">
                  <a:pos x="92" y="3048"/>
                </a:cxn>
                <a:cxn ang="0">
                  <a:pos x="28" y="2756"/>
                </a:cxn>
                <a:cxn ang="0">
                  <a:pos x="2" y="2454"/>
                </a:cxn>
                <a:cxn ang="0">
                  <a:pos x="8" y="2208"/>
                </a:cxn>
                <a:cxn ang="0">
                  <a:pos x="50" y="1910"/>
                </a:cxn>
                <a:cxn ang="0">
                  <a:pos x="126" y="1626"/>
                </a:cxn>
                <a:cxn ang="0">
                  <a:pos x="236" y="1356"/>
                </a:cxn>
                <a:cxn ang="0">
                  <a:pos x="378" y="1102"/>
                </a:cxn>
                <a:cxn ang="0">
                  <a:pos x="548" y="870"/>
                </a:cxn>
                <a:cxn ang="0">
                  <a:pos x="742" y="660"/>
                </a:cxn>
                <a:cxn ang="0">
                  <a:pos x="962" y="476"/>
                </a:cxn>
                <a:cxn ang="0">
                  <a:pos x="1202" y="316"/>
                </a:cxn>
                <a:cxn ang="0">
                  <a:pos x="1462" y="188"/>
                </a:cxn>
                <a:cxn ang="0">
                  <a:pos x="1738" y="90"/>
                </a:cxn>
                <a:cxn ang="0">
                  <a:pos x="2030" y="28"/>
                </a:cxn>
                <a:cxn ang="0">
                  <a:pos x="2332" y="0"/>
                </a:cxn>
                <a:cxn ang="0">
                  <a:pos x="2578" y="6"/>
                </a:cxn>
                <a:cxn ang="0">
                  <a:pos x="2876" y="48"/>
                </a:cxn>
                <a:cxn ang="0">
                  <a:pos x="3160" y="126"/>
                </a:cxn>
                <a:cxn ang="0">
                  <a:pos x="3430" y="236"/>
                </a:cxn>
                <a:cxn ang="0">
                  <a:pos x="3684" y="376"/>
                </a:cxn>
                <a:cxn ang="0">
                  <a:pos x="3916" y="546"/>
                </a:cxn>
                <a:cxn ang="0">
                  <a:pos x="4126" y="742"/>
                </a:cxn>
                <a:cxn ang="0">
                  <a:pos x="4310" y="960"/>
                </a:cxn>
                <a:cxn ang="0">
                  <a:pos x="4470" y="1202"/>
                </a:cxn>
                <a:cxn ang="0">
                  <a:pos x="4598" y="1462"/>
                </a:cxn>
                <a:cxn ang="0">
                  <a:pos x="4696" y="1738"/>
                </a:cxn>
                <a:cxn ang="0">
                  <a:pos x="4758" y="2028"/>
                </a:cxn>
                <a:cxn ang="0">
                  <a:pos x="4786" y="2330"/>
                </a:cxn>
              </a:cxnLst>
              <a:rect l="0" t="0" r="r" b="b"/>
              <a:pathLst>
                <a:path w="4786" h="4786">
                  <a:moveTo>
                    <a:pt x="4786" y="2392"/>
                  </a:moveTo>
                  <a:lnTo>
                    <a:pt x="4786" y="2392"/>
                  </a:lnTo>
                  <a:lnTo>
                    <a:pt x="4786" y="2454"/>
                  </a:lnTo>
                  <a:lnTo>
                    <a:pt x="4784" y="2516"/>
                  </a:lnTo>
                  <a:lnTo>
                    <a:pt x="4780" y="2576"/>
                  </a:lnTo>
                  <a:lnTo>
                    <a:pt x="4774" y="2638"/>
                  </a:lnTo>
                  <a:lnTo>
                    <a:pt x="4768" y="2698"/>
                  </a:lnTo>
                  <a:lnTo>
                    <a:pt x="4758" y="2756"/>
                  </a:lnTo>
                  <a:lnTo>
                    <a:pt x="4748" y="2816"/>
                  </a:lnTo>
                  <a:lnTo>
                    <a:pt x="4738" y="2874"/>
                  </a:lnTo>
                  <a:lnTo>
                    <a:pt x="4726" y="2932"/>
                  </a:lnTo>
                  <a:lnTo>
                    <a:pt x="4712" y="2990"/>
                  </a:lnTo>
                  <a:lnTo>
                    <a:pt x="4696" y="3048"/>
                  </a:lnTo>
                  <a:lnTo>
                    <a:pt x="4678" y="3104"/>
                  </a:lnTo>
                  <a:lnTo>
                    <a:pt x="4660" y="3160"/>
                  </a:lnTo>
                  <a:lnTo>
                    <a:pt x="4642" y="3216"/>
                  </a:lnTo>
                  <a:lnTo>
                    <a:pt x="4620" y="3270"/>
                  </a:lnTo>
                  <a:lnTo>
                    <a:pt x="4598" y="3324"/>
                  </a:lnTo>
                  <a:lnTo>
                    <a:pt x="4574" y="3378"/>
                  </a:lnTo>
                  <a:lnTo>
                    <a:pt x="4550" y="3430"/>
                  </a:lnTo>
                  <a:lnTo>
                    <a:pt x="4524" y="3482"/>
                  </a:lnTo>
                  <a:lnTo>
                    <a:pt x="4498" y="3534"/>
                  </a:lnTo>
                  <a:lnTo>
                    <a:pt x="4470" y="3584"/>
                  </a:lnTo>
                  <a:lnTo>
                    <a:pt x="4440" y="3634"/>
                  </a:lnTo>
                  <a:lnTo>
                    <a:pt x="4410" y="3682"/>
                  </a:lnTo>
                  <a:lnTo>
                    <a:pt x="4378" y="3730"/>
                  </a:lnTo>
                  <a:lnTo>
                    <a:pt x="4344" y="3778"/>
                  </a:lnTo>
                  <a:lnTo>
                    <a:pt x="4310" y="3824"/>
                  </a:lnTo>
                  <a:lnTo>
                    <a:pt x="4276" y="3870"/>
                  </a:lnTo>
                  <a:lnTo>
                    <a:pt x="4240" y="3914"/>
                  </a:lnTo>
                  <a:lnTo>
                    <a:pt x="4202" y="3958"/>
                  </a:lnTo>
                  <a:lnTo>
                    <a:pt x="4164" y="4002"/>
                  </a:lnTo>
                  <a:lnTo>
                    <a:pt x="4126" y="4044"/>
                  </a:lnTo>
                  <a:lnTo>
                    <a:pt x="4086" y="4084"/>
                  </a:lnTo>
                  <a:lnTo>
                    <a:pt x="4044" y="4124"/>
                  </a:lnTo>
                  <a:lnTo>
                    <a:pt x="4002" y="4164"/>
                  </a:lnTo>
                  <a:lnTo>
                    <a:pt x="3960" y="4202"/>
                  </a:lnTo>
                  <a:lnTo>
                    <a:pt x="3916" y="4238"/>
                  </a:lnTo>
                  <a:lnTo>
                    <a:pt x="3870" y="4274"/>
                  </a:lnTo>
                  <a:lnTo>
                    <a:pt x="3826" y="4310"/>
                  </a:lnTo>
                  <a:lnTo>
                    <a:pt x="3778" y="4344"/>
                  </a:lnTo>
                  <a:lnTo>
                    <a:pt x="3732" y="4376"/>
                  </a:lnTo>
                  <a:lnTo>
                    <a:pt x="3684" y="4408"/>
                  </a:lnTo>
                  <a:lnTo>
                    <a:pt x="3634" y="4438"/>
                  </a:lnTo>
                  <a:lnTo>
                    <a:pt x="3584" y="4468"/>
                  </a:lnTo>
                  <a:lnTo>
                    <a:pt x="3534" y="4496"/>
                  </a:lnTo>
                  <a:lnTo>
                    <a:pt x="3482" y="4524"/>
                  </a:lnTo>
                  <a:lnTo>
                    <a:pt x="3430" y="4550"/>
                  </a:lnTo>
                  <a:lnTo>
                    <a:pt x="3378" y="4574"/>
                  </a:lnTo>
                  <a:lnTo>
                    <a:pt x="3324" y="4598"/>
                  </a:lnTo>
                  <a:lnTo>
                    <a:pt x="3270" y="4620"/>
                  </a:lnTo>
                  <a:lnTo>
                    <a:pt x="3216" y="4640"/>
                  </a:lnTo>
                  <a:lnTo>
                    <a:pt x="3160" y="4660"/>
                  </a:lnTo>
                  <a:lnTo>
                    <a:pt x="3106" y="4678"/>
                  </a:lnTo>
                  <a:lnTo>
                    <a:pt x="3048" y="4694"/>
                  </a:lnTo>
                  <a:lnTo>
                    <a:pt x="2992" y="4710"/>
                  </a:lnTo>
                  <a:lnTo>
                    <a:pt x="2934" y="4724"/>
                  </a:lnTo>
                  <a:lnTo>
                    <a:pt x="2876" y="4736"/>
                  </a:lnTo>
                  <a:lnTo>
                    <a:pt x="2818" y="4748"/>
                  </a:lnTo>
                  <a:lnTo>
                    <a:pt x="2758" y="4758"/>
                  </a:lnTo>
                  <a:lnTo>
                    <a:pt x="2698" y="4766"/>
                  </a:lnTo>
                  <a:lnTo>
                    <a:pt x="2638" y="4772"/>
                  </a:lnTo>
                  <a:lnTo>
                    <a:pt x="2578" y="4778"/>
                  </a:lnTo>
                  <a:lnTo>
                    <a:pt x="2516" y="4782"/>
                  </a:lnTo>
                  <a:lnTo>
                    <a:pt x="2456" y="4784"/>
                  </a:lnTo>
                  <a:lnTo>
                    <a:pt x="2394" y="4786"/>
                  </a:lnTo>
                  <a:lnTo>
                    <a:pt x="2394" y="4786"/>
                  </a:lnTo>
                  <a:lnTo>
                    <a:pt x="2332" y="4784"/>
                  </a:lnTo>
                  <a:lnTo>
                    <a:pt x="2270" y="4782"/>
                  </a:lnTo>
                  <a:lnTo>
                    <a:pt x="2210" y="4778"/>
                  </a:lnTo>
                  <a:lnTo>
                    <a:pt x="2148" y="4772"/>
                  </a:lnTo>
                  <a:lnTo>
                    <a:pt x="2088" y="4766"/>
                  </a:lnTo>
                  <a:lnTo>
                    <a:pt x="2030" y="4758"/>
                  </a:lnTo>
                  <a:lnTo>
                    <a:pt x="1970" y="4748"/>
                  </a:lnTo>
                  <a:lnTo>
                    <a:pt x="1912" y="4736"/>
                  </a:lnTo>
                  <a:lnTo>
                    <a:pt x="1854" y="4724"/>
                  </a:lnTo>
                  <a:lnTo>
                    <a:pt x="1796" y="4710"/>
                  </a:lnTo>
                  <a:lnTo>
                    <a:pt x="1738" y="4694"/>
                  </a:lnTo>
                  <a:lnTo>
                    <a:pt x="1682" y="4678"/>
                  </a:lnTo>
                  <a:lnTo>
                    <a:pt x="1626" y="4660"/>
                  </a:lnTo>
                  <a:lnTo>
                    <a:pt x="1570" y="4640"/>
                  </a:lnTo>
                  <a:lnTo>
                    <a:pt x="1516" y="4620"/>
                  </a:lnTo>
                  <a:lnTo>
                    <a:pt x="1462" y="4598"/>
                  </a:lnTo>
                  <a:lnTo>
                    <a:pt x="1408" y="4574"/>
                  </a:lnTo>
                  <a:lnTo>
                    <a:pt x="1356" y="4550"/>
                  </a:lnTo>
                  <a:lnTo>
                    <a:pt x="1304" y="4524"/>
                  </a:lnTo>
                  <a:lnTo>
                    <a:pt x="1252" y="4496"/>
                  </a:lnTo>
                  <a:lnTo>
                    <a:pt x="1202" y="4468"/>
                  </a:lnTo>
                  <a:lnTo>
                    <a:pt x="1152" y="4438"/>
                  </a:lnTo>
                  <a:lnTo>
                    <a:pt x="1104" y="4408"/>
                  </a:lnTo>
                  <a:lnTo>
                    <a:pt x="1056" y="4376"/>
                  </a:lnTo>
                  <a:lnTo>
                    <a:pt x="1008" y="4344"/>
                  </a:lnTo>
                  <a:lnTo>
                    <a:pt x="962" y="4310"/>
                  </a:lnTo>
                  <a:lnTo>
                    <a:pt x="916" y="4274"/>
                  </a:lnTo>
                  <a:lnTo>
                    <a:pt x="872" y="4238"/>
                  </a:lnTo>
                  <a:lnTo>
                    <a:pt x="828" y="4202"/>
                  </a:lnTo>
                  <a:lnTo>
                    <a:pt x="784" y="4164"/>
                  </a:lnTo>
                  <a:lnTo>
                    <a:pt x="742" y="4124"/>
                  </a:lnTo>
                  <a:lnTo>
                    <a:pt x="702" y="4084"/>
                  </a:lnTo>
                  <a:lnTo>
                    <a:pt x="662" y="4044"/>
                  </a:lnTo>
                  <a:lnTo>
                    <a:pt x="622" y="4002"/>
                  </a:lnTo>
                  <a:lnTo>
                    <a:pt x="584" y="3958"/>
                  </a:lnTo>
                  <a:lnTo>
                    <a:pt x="548" y="3914"/>
                  </a:lnTo>
                  <a:lnTo>
                    <a:pt x="512" y="3870"/>
                  </a:lnTo>
                  <a:lnTo>
                    <a:pt x="476" y="3824"/>
                  </a:lnTo>
                  <a:lnTo>
                    <a:pt x="442" y="3778"/>
                  </a:lnTo>
                  <a:lnTo>
                    <a:pt x="410" y="3730"/>
                  </a:lnTo>
                  <a:lnTo>
                    <a:pt x="378" y="3682"/>
                  </a:lnTo>
                  <a:lnTo>
                    <a:pt x="348" y="3634"/>
                  </a:lnTo>
                  <a:lnTo>
                    <a:pt x="318" y="3584"/>
                  </a:lnTo>
                  <a:lnTo>
                    <a:pt x="290" y="3534"/>
                  </a:lnTo>
                  <a:lnTo>
                    <a:pt x="262" y="3482"/>
                  </a:lnTo>
                  <a:lnTo>
                    <a:pt x="236" y="3430"/>
                  </a:lnTo>
                  <a:lnTo>
                    <a:pt x="212" y="3378"/>
                  </a:lnTo>
                  <a:lnTo>
                    <a:pt x="188" y="3324"/>
                  </a:lnTo>
                  <a:lnTo>
                    <a:pt x="166" y="3270"/>
                  </a:lnTo>
                  <a:lnTo>
                    <a:pt x="146" y="3216"/>
                  </a:lnTo>
                  <a:lnTo>
                    <a:pt x="126" y="3160"/>
                  </a:lnTo>
                  <a:lnTo>
                    <a:pt x="108" y="3104"/>
                  </a:lnTo>
                  <a:lnTo>
                    <a:pt x="92" y="3048"/>
                  </a:lnTo>
                  <a:lnTo>
                    <a:pt x="76" y="2990"/>
                  </a:lnTo>
                  <a:lnTo>
                    <a:pt x="62" y="2932"/>
                  </a:lnTo>
                  <a:lnTo>
                    <a:pt x="50" y="2874"/>
                  </a:lnTo>
                  <a:lnTo>
                    <a:pt x="38" y="2816"/>
                  </a:lnTo>
                  <a:lnTo>
                    <a:pt x="28" y="2756"/>
                  </a:lnTo>
                  <a:lnTo>
                    <a:pt x="20" y="2698"/>
                  </a:lnTo>
                  <a:lnTo>
                    <a:pt x="14" y="2638"/>
                  </a:lnTo>
                  <a:lnTo>
                    <a:pt x="8" y="2576"/>
                  </a:lnTo>
                  <a:lnTo>
                    <a:pt x="4" y="2516"/>
                  </a:lnTo>
                  <a:lnTo>
                    <a:pt x="2" y="2454"/>
                  </a:lnTo>
                  <a:lnTo>
                    <a:pt x="0" y="2392"/>
                  </a:lnTo>
                  <a:lnTo>
                    <a:pt x="0" y="2392"/>
                  </a:lnTo>
                  <a:lnTo>
                    <a:pt x="2" y="2330"/>
                  </a:lnTo>
                  <a:lnTo>
                    <a:pt x="4" y="2270"/>
                  </a:lnTo>
                  <a:lnTo>
                    <a:pt x="8" y="2208"/>
                  </a:lnTo>
                  <a:lnTo>
                    <a:pt x="14" y="2148"/>
                  </a:lnTo>
                  <a:lnTo>
                    <a:pt x="20" y="2088"/>
                  </a:lnTo>
                  <a:lnTo>
                    <a:pt x="28" y="2028"/>
                  </a:lnTo>
                  <a:lnTo>
                    <a:pt x="38" y="1968"/>
                  </a:lnTo>
                  <a:lnTo>
                    <a:pt x="50" y="1910"/>
                  </a:lnTo>
                  <a:lnTo>
                    <a:pt x="62" y="1852"/>
                  </a:lnTo>
                  <a:lnTo>
                    <a:pt x="76" y="1794"/>
                  </a:lnTo>
                  <a:lnTo>
                    <a:pt x="92" y="1738"/>
                  </a:lnTo>
                  <a:lnTo>
                    <a:pt x="108" y="1680"/>
                  </a:lnTo>
                  <a:lnTo>
                    <a:pt x="126" y="1626"/>
                  </a:lnTo>
                  <a:lnTo>
                    <a:pt x="146" y="1570"/>
                  </a:lnTo>
                  <a:lnTo>
                    <a:pt x="166" y="1516"/>
                  </a:lnTo>
                  <a:lnTo>
                    <a:pt x="188" y="1462"/>
                  </a:lnTo>
                  <a:lnTo>
                    <a:pt x="212" y="1408"/>
                  </a:lnTo>
                  <a:lnTo>
                    <a:pt x="236" y="1356"/>
                  </a:lnTo>
                  <a:lnTo>
                    <a:pt x="262" y="1304"/>
                  </a:lnTo>
                  <a:lnTo>
                    <a:pt x="290" y="1252"/>
                  </a:lnTo>
                  <a:lnTo>
                    <a:pt x="318" y="1202"/>
                  </a:lnTo>
                  <a:lnTo>
                    <a:pt x="348" y="1152"/>
                  </a:lnTo>
                  <a:lnTo>
                    <a:pt x="378" y="1102"/>
                  </a:lnTo>
                  <a:lnTo>
                    <a:pt x="410" y="1054"/>
                  </a:lnTo>
                  <a:lnTo>
                    <a:pt x="442" y="1008"/>
                  </a:lnTo>
                  <a:lnTo>
                    <a:pt x="476" y="960"/>
                  </a:lnTo>
                  <a:lnTo>
                    <a:pt x="512" y="916"/>
                  </a:lnTo>
                  <a:lnTo>
                    <a:pt x="548" y="870"/>
                  </a:lnTo>
                  <a:lnTo>
                    <a:pt x="584" y="826"/>
                  </a:lnTo>
                  <a:lnTo>
                    <a:pt x="622" y="784"/>
                  </a:lnTo>
                  <a:lnTo>
                    <a:pt x="662" y="742"/>
                  </a:lnTo>
                  <a:lnTo>
                    <a:pt x="702" y="700"/>
                  </a:lnTo>
                  <a:lnTo>
                    <a:pt x="742" y="660"/>
                  </a:lnTo>
                  <a:lnTo>
                    <a:pt x="784" y="622"/>
                  </a:lnTo>
                  <a:lnTo>
                    <a:pt x="828" y="584"/>
                  </a:lnTo>
                  <a:lnTo>
                    <a:pt x="872" y="546"/>
                  </a:lnTo>
                  <a:lnTo>
                    <a:pt x="916" y="510"/>
                  </a:lnTo>
                  <a:lnTo>
                    <a:pt x="962" y="476"/>
                  </a:lnTo>
                  <a:lnTo>
                    <a:pt x="1008" y="442"/>
                  </a:lnTo>
                  <a:lnTo>
                    <a:pt x="1056" y="408"/>
                  </a:lnTo>
                  <a:lnTo>
                    <a:pt x="1104" y="376"/>
                  </a:lnTo>
                  <a:lnTo>
                    <a:pt x="1152" y="346"/>
                  </a:lnTo>
                  <a:lnTo>
                    <a:pt x="1202" y="316"/>
                  </a:lnTo>
                  <a:lnTo>
                    <a:pt x="1252" y="288"/>
                  </a:lnTo>
                  <a:lnTo>
                    <a:pt x="1304" y="262"/>
                  </a:lnTo>
                  <a:lnTo>
                    <a:pt x="1356" y="236"/>
                  </a:lnTo>
                  <a:lnTo>
                    <a:pt x="1408" y="212"/>
                  </a:lnTo>
                  <a:lnTo>
                    <a:pt x="1462" y="188"/>
                  </a:lnTo>
                  <a:lnTo>
                    <a:pt x="1516" y="166"/>
                  </a:lnTo>
                  <a:lnTo>
                    <a:pt x="1570" y="144"/>
                  </a:lnTo>
                  <a:lnTo>
                    <a:pt x="1626" y="126"/>
                  </a:lnTo>
                  <a:lnTo>
                    <a:pt x="1682" y="108"/>
                  </a:lnTo>
                  <a:lnTo>
                    <a:pt x="1738" y="90"/>
                  </a:lnTo>
                  <a:lnTo>
                    <a:pt x="1796" y="74"/>
                  </a:lnTo>
                  <a:lnTo>
                    <a:pt x="1854" y="60"/>
                  </a:lnTo>
                  <a:lnTo>
                    <a:pt x="1912" y="48"/>
                  </a:lnTo>
                  <a:lnTo>
                    <a:pt x="1970" y="38"/>
                  </a:lnTo>
                  <a:lnTo>
                    <a:pt x="2030" y="28"/>
                  </a:lnTo>
                  <a:lnTo>
                    <a:pt x="2088" y="18"/>
                  </a:lnTo>
                  <a:lnTo>
                    <a:pt x="2148" y="12"/>
                  </a:lnTo>
                  <a:lnTo>
                    <a:pt x="2210" y="6"/>
                  </a:lnTo>
                  <a:lnTo>
                    <a:pt x="2270" y="2"/>
                  </a:lnTo>
                  <a:lnTo>
                    <a:pt x="2332" y="0"/>
                  </a:lnTo>
                  <a:lnTo>
                    <a:pt x="2394" y="0"/>
                  </a:lnTo>
                  <a:lnTo>
                    <a:pt x="2394" y="0"/>
                  </a:lnTo>
                  <a:lnTo>
                    <a:pt x="2456" y="0"/>
                  </a:lnTo>
                  <a:lnTo>
                    <a:pt x="2516" y="2"/>
                  </a:lnTo>
                  <a:lnTo>
                    <a:pt x="2578" y="6"/>
                  </a:lnTo>
                  <a:lnTo>
                    <a:pt x="2638" y="12"/>
                  </a:lnTo>
                  <a:lnTo>
                    <a:pt x="2698" y="18"/>
                  </a:lnTo>
                  <a:lnTo>
                    <a:pt x="2758" y="28"/>
                  </a:lnTo>
                  <a:lnTo>
                    <a:pt x="2818" y="38"/>
                  </a:lnTo>
                  <a:lnTo>
                    <a:pt x="2876" y="48"/>
                  </a:lnTo>
                  <a:lnTo>
                    <a:pt x="2934" y="60"/>
                  </a:lnTo>
                  <a:lnTo>
                    <a:pt x="2992" y="74"/>
                  </a:lnTo>
                  <a:lnTo>
                    <a:pt x="3048" y="90"/>
                  </a:lnTo>
                  <a:lnTo>
                    <a:pt x="3106" y="108"/>
                  </a:lnTo>
                  <a:lnTo>
                    <a:pt x="3160" y="126"/>
                  </a:lnTo>
                  <a:lnTo>
                    <a:pt x="3216" y="144"/>
                  </a:lnTo>
                  <a:lnTo>
                    <a:pt x="3270" y="166"/>
                  </a:lnTo>
                  <a:lnTo>
                    <a:pt x="3324" y="188"/>
                  </a:lnTo>
                  <a:lnTo>
                    <a:pt x="3378" y="212"/>
                  </a:lnTo>
                  <a:lnTo>
                    <a:pt x="3430" y="236"/>
                  </a:lnTo>
                  <a:lnTo>
                    <a:pt x="3482" y="262"/>
                  </a:lnTo>
                  <a:lnTo>
                    <a:pt x="3534" y="288"/>
                  </a:lnTo>
                  <a:lnTo>
                    <a:pt x="3584" y="316"/>
                  </a:lnTo>
                  <a:lnTo>
                    <a:pt x="3634" y="346"/>
                  </a:lnTo>
                  <a:lnTo>
                    <a:pt x="3684" y="376"/>
                  </a:lnTo>
                  <a:lnTo>
                    <a:pt x="3732" y="408"/>
                  </a:lnTo>
                  <a:lnTo>
                    <a:pt x="3778" y="442"/>
                  </a:lnTo>
                  <a:lnTo>
                    <a:pt x="3826" y="476"/>
                  </a:lnTo>
                  <a:lnTo>
                    <a:pt x="3870" y="510"/>
                  </a:lnTo>
                  <a:lnTo>
                    <a:pt x="3916" y="546"/>
                  </a:lnTo>
                  <a:lnTo>
                    <a:pt x="3960" y="584"/>
                  </a:lnTo>
                  <a:lnTo>
                    <a:pt x="4002" y="622"/>
                  </a:lnTo>
                  <a:lnTo>
                    <a:pt x="4044" y="660"/>
                  </a:lnTo>
                  <a:lnTo>
                    <a:pt x="4086" y="700"/>
                  </a:lnTo>
                  <a:lnTo>
                    <a:pt x="4126" y="742"/>
                  </a:lnTo>
                  <a:lnTo>
                    <a:pt x="4164" y="784"/>
                  </a:lnTo>
                  <a:lnTo>
                    <a:pt x="4202" y="826"/>
                  </a:lnTo>
                  <a:lnTo>
                    <a:pt x="4240" y="870"/>
                  </a:lnTo>
                  <a:lnTo>
                    <a:pt x="4276" y="916"/>
                  </a:lnTo>
                  <a:lnTo>
                    <a:pt x="4310" y="960"/>
                  </a:lnTo>
                  <a:lnTo>
                    <a:pt x="4344" y="1008"/>
                  </a:lnTo>
                  <a:lnTo>
                    <a:pt x="4378" y="1054"/>
                  </a:lnTo>
                  <a:lnTo>
                    <a:pt x="4410" y="1102"/>
                  </a:lnTo>
                  <a:lnTo>
                    <a:pt x="4440" y="1152"/>
                  </a:lnTo>
                  <a:lnTo>
                    <a:pt x="4470" y="1202"/>
                  </a:lnTo>
                  <a:lnTo>
                    <a:pt x="4498" y="1252"/>
                  </a:lnTo>
                  <a:lnTo>
                    <a:pt x="4524" y="1304"/>
                  </a:lnTo>
                  <a:lnTo>
                    <a:pt x="4550" y="1356"/>
                  </a:lnTo>
                  <a:lnTo>
                    <a:pt x="4574" y="1408"/>
                  </a:lnTo>
                  <a:lnTo>
                    <a:pt x="4598" y="1462"/>
                  </a:lnTo>
                  <a:lnTo>
                    <a:pt x="4620" y="1516"/>
                  </a:lnTo>
                  <a:lnTo>
                    <a:pt x="4642" y="1570"/>
                  </a:lnTo>
                  <a:lnTo>
                    <a:pt x="4660" y="1626"/>
                  </a:lnTo>
                  <a:lnTo>
                    <a:pt x="4678" y="1680"/>
                  </a:lnTo>
                  <a:lnTo>
                    <a:pt x="4696" y="1738"/>
                  </a:lnTo>
                  <a:lnTo>
                    <a:pt x="4712" y="1794"/>
                  </a:lnTo>
                  <a:lnTo>
                    <a:pt x="4726" y="1852"/>
                  </a:lnTo>
                  <a:lnTo>
                    <a:pt x="4738" y="1910"/>
                  </a:lnTo>
                  <a:lnTo>
                    <a:pt x="4748" y="1968"/>
                  </a:lnTo>
                  <a:lnTo>
                    <a:pt x="4758" y="2028"/>
                  </a:lnTo>
                  <a:lnTo>
                    <a:pt x="4768" y="2088"/>
                  </a:lnTo>
                  <a:lnTo>
                    <a:pt x="4774" y="2148"/>
                  </a:lnTo>
                  <a:lnTo>
                    <a:pt x="4780" y="2208"/>
                  </a:lnTo>
                  <a:lnTo>
                    <a:pt x="4784" y="2270"/>
                  </a:lnTo>
                  <a:lnTo>
                    <a:pt x="4786" y="2330"/>
                  </a:lnTo>
                  <a:lnTo>
                    <a:pt x="4786" y="2392"/>
                  </a:lnTo>
                  <a:lnTo>
                    <a:pt x="4786" y="239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9" name="Freeform 71">
              <a:extLst>
                <a:ext uri="{FF2B5EF4-FFF2-40B4-BE49-F238E27FC236}">
                  <a16:creationId xmlns:a16="http://schemas.microsoft.com/office/drawing/2014/main" id="{D24FE7A7-3558-42B1-98B0-216B2FBDE2E7}"/>
                </a:ext>
              </a:extLst>
            </p:cNvPr>
            <p:cNvSpPr>
              <a:spLocks/>
            </p:cNvSpPr>
            <p:nvPr/>
          </p:nvSpPr>
          <p:spPr bwMode="auto">
            <a:xfrm>
              <a:off x="7097713" y="-1509713"/>
              <a:ext cx="933450" cy="2314575"/>
            </a:xfrm>
            <a:custGeom>
              <a:avLst/>
              <a:gdLst/>
              <a:ahLst/>
              <a:cxnLst>
                <a:cxn ang="0">
                  <a:pos x="306" y="0"/>
                </a:cxn>
                <a:cxn ang="0">
                  <a:pos x="306" y="0"/>
                </a:cxn>
                <a:cxn ang="0">
                  <a:pos x="270" y="24"/>
                </a:cxn>
                <a:cxn ang="0">
                  <a:pos x="236" y="46"/>
                </a:cxn>
                <a:cxn ang="0">
                  <a:pos x="198" y="68"/>
                </a:cxn>
                <a:cxn ang="0">
                  <a:pos x="160" y="86"/>
                </a:cxn>
                <a:cxn ang="0">
                  <a:pos x="122" y="104"/>
                </a:cxn>
                <a:cxn ang="0">
                  <a:pos x="82" y="120"/>
                </a:cxn>
                <a:cxn ang="0">
                  <a:pos x="40" y="132"/>
                </a:cxn>
                <a:cxn ang="0">
                  <a:pos x="0" y="144"/>
                </a:cxn>
                <a:cxn ang="0">
                  <a:pos x="0" y="144"/>
                </a:cxn>
                <a:cxn ang="0">
                  <a:pos x="32" y="160"/>
                </a:cxn>
                <a:cxn ang="0">
                  <a:pos x="64" y="178"/>
                </a:cxn>
                <a:cxn ang="0">
                  <a:pos x="92" y="198"/>
                </a:cxn>
                <a:cxn ang="0">
                  <a:pos x="122" y="222"/>
                </a:cxn>
                <a:cxn ang="0">
                  <a:pos x="148" y="246"/>
                </a:cxn>
                <a:cxn ang="0">
                  <a:pos x="172" y="272"/>
                </a:cxn>
                <a:cxn ang="0">
                  <a:pos x="196" y="300"/>
                </a:cxn>
                <a:cxn ang="0">
                  <a:pos x="216" y="328"/>
                </a:cxn>
                <a:cxn ang="0">
                  <a:pos x="236" y="360"/>
                </a:cxn>
                <a:cxn ang="0">
                  <a:pos x="252" y="392"/>
                </a:cxn>
                <a:cxn ang="0">
                  <a:pos x="266" y="424"/>
                </a:cxn>
                <a:cxn ang="0">
                  <a:pos x="278" y="460"/>
                </a:cxn>
                <a:cxn ang="0">
                  <a:pos x="288" y="496"/>
                </a:cxn>
                <a:cxn ang="0">
                  <a:pos x="294" y="532"/>
                </a:cxn>
                <a:cxn ang="0">
                  <a:pos x="300" y="570"/>
                </a:cxn>
                <a:cxn ang="0">
                  <a:pos x="300" y="608"/>
                </a:cxn>
                <a:cxn ang="0">
                  <a:pos x="300" y="1458"/>
                </a:cxn>
                <a:cxn ang="0">
                  <a:pos x="588" y="1458"/>
                </a:cxn>
                <a:cxn ang="0">
                  <a:pos x="588" y="608"/>
                </a:cxn>
                <a:cxn ang="0">
                  <a:pos x="588" y="608"/>
                </a:cxn>
                <a:cxn ang="0">
                  <a:pos x="586" y="562"/>
                </a:cxn>
                <a:cxn ang="0">
                  <a:pos x="584" y="518"/>
                </a:cxn>
                <a:cxn ang="0">
                  <a:pos x="576" y="474"/>
                </a:cxn>
                <a:cxn ang="0">
                  <a:pos x="568" y="430"/>
                </a:cxn>
                <a:cxn ang="0">
                  <a:pos x="558" y="388"/>
                </a:cxn>
                <a:cxn ang="0">
                  <a:pos x="544" y="348"/>
                </a:cxn>
                <a:cxn ang="0">
                  <a:pos x="528" y="308"/>
                </a:cxn>
                <a:cxn ang="0">
                  <a:pos x="512" y="268"/>
                </a:cxn>
                <a:cxn ang="0">
                  <a:pos x="492" y="230"/>
                </a:cxn>
                <a:cxn ang="0">
                  <a:pos x="470" y="192"/>
                </a:cxn>
                <a:cxn ang="0">
                  <a:pos x="448" y="158"/>
                </a:cxn>
                <a:cxn ang="0">
                  <a:pos x="422" y="122"/>
                </a:cxn>
                <a:cxn ang="0">
                  <a:pos x="396" y="90"/>
                </a:cxn>
                <a:cxn ang="0">
                  <a:pos x="368" y="58"/>
                </a:cxn>
                <a:cxn ang="0">
                  <a:pos x="336" y="28"/>
                </a:cxn>
                <a:cxn ang="0">
                  <a:pos x="306" y="0"/>
                </a:cxn>
                <a:cxn ang="0">
                  <a:pos x="306" y="0"/>
                </a:cxn>
              </a:cxnLst>
              <a:rect l="0" t="0" r="r" b="b"/>
              <a:pathLst>
                <a:path w="588" h="1458">
                  <a:moveTo>
                    <a:pt x="306" y="0"/>
                  </a:moveTo>
                  <a:lnTo>
                    <a:pt x="306" y="0"/>
                  </a:lnTo>
                  <a:lnTo>
                    <a:pt x="270" y="24"/>
                  </a:lnTo>
                  <a:lnTo>
                    <a:pt x="236" y="46"/>
                  </a:lnTo>
                  <a:lnTo>
                    <a:pt x="198" y="68"/>
                  </a:lnTo>
                  <a:lnTo>
                    <a:pt x="160" y="86"/>
                  </a:lnTo>
                  <a:lnTo>
                    <a:pt x="122" y="104"/>
                  </a:lnTo>
                  <a:lnTo>
                    <a:pt x="82" y="120"/>
                  </a:lnTo>
                  <a:lnTo>
                    <a:pt x="40" y="132"/>
                  </a:lnTo>
                  <a:lnTo>
                    <a:pt x="0" y="144"/>
                  </a:lnTo>
                  <a:lnTo>
                    <a:pt x="0" y="144"/>
                  </a:lnTo>
                  <a:lnTo>
                    <a:pt x="32" y="160"/>
                  </a:lnTo>
                  <a:lnTo>
                    <a:pt x="64" y="178"/>
                  </a:lnTo>
                  <a:lnTo>
                    <a:pt x="92" y="198"/>
                  </a:lnTo>
                  <a:lnTo>
                    <a:pt x="122" y="222"/>
                  </a:lnTo>
                  <a:lnTo>
                    <a:pt x="148" y="246"/>
                  </a:lnTo>
                  <a:lnTo>
                    <a:pt x="172" y="272"/>
                  </a:lnTo>
                  <a:lnTo>
                    <a:pt x="196" y="300"/>
                  </a:lnTo>
                  <a:lnTo>
                    <a:pt x="216" y="328"/>
                  </a:lnTo>
                  <a:lnTo>
                    <a:pt x="236" y="360"/>
                  </a:lnTo>
                  <a:lnTo>
                    <a:pt x="252" y="392"/>
                  </a:lnTo>
                  <a:lnTo>
                    <a:pt x="266" y="424"/>
                  </a:lnTo>
                  <a:lnTo>
                    <a:pt x="278" y="460"/>
                  </a:lnTo>
                  <a:lnTo>
                    <a:pt x="288" y="496"/>
                  </a:lnTo>
                  <a:lnTo>
                    <a:pt x="294" y="532"/>
                  </a:lnTo>
                  <a:lnTo>
                    <a:pt x="300" y="570"/>
                  </a:lnTo>
                  <a:lnTo>
                    <a:pt x="300" y="608"/>
                  </a:lnTo>
                  <a:lnTo>
                    <a:pt x="300" y="1458"/>
                  </a:lnTo>
                  <a:lnTo>
                    <a:pt x="588" y="1458"/>
                  </a:lnTo>
                  <a:lnTo>
                    <a:pt x="588" y="608"/>
                  </a:lnTo>
                  <a:lnTo>
                    <a:pt x="588" y="608"/>
                  </a:lnTo>
                  <a:lnTo>
                    <a:pt x="586" y="562"/>
                  </a:lnTo>
                  <a:lnTo>
                    <a:pt x="584" y="518"/>
                  </a:lnTo>
                  <a:lnTo>
                    <a:pt x="576" y="474"/>
                  </a:lnTo>
                  <a:lnTo>
                    <a:pt x="568" y="430"/>
                  </a:lnTo>
                  <a:lnTo>
                    <a:pt x="558" y="388"/>
                  </a:lnTo>
                  <a:lnTo>
                    <a:pt x="544" y="348"/>
                  </a:lnTo>
                  <a:lnTo>
                    <a:pt x="528" y="308"/>
                  </a:lnTo>
                  <a:lnTo>
                    <a:pt x="512" y="268"/>
                  </a:lnTo>
                  <a:lnTo>
                    <a:pt x="492" y="230"/>
                  </a:lnTo>
                  <a:lnTo>
                    <a:pt x="470" y="192"/>
                  </a:lnTo>
                  <a:lnTo>
                    <a:pt x="448" y="158"/>
                  </a:lnTo>
                  <a:lnTo>
                    <a:pt x="422" y="122"/>
                  </a:lnTo>
                  <a:lnTo>
                    <a:pt x="396" y="90"/>
                  </a:lnTo>
                  <a:lnTo>
                    <a:pt x="368" y="58"/>
                  </a:lnTo>
                  <a:lnTo>
                    <a:pt x="336" y="28"/>
                  </a:lnTo>
                  <a:lnTo>
                    <a:pt x="306" y="0"/>
                  </a:lnTo>
                  <a:lnTo>
                    <a:pt x="30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0" name="Freeform 72">
              <a:extLst>
                <a:ext uri="{FF2B5EF4-FFF2-40B4-BE49-F238E27FC236}">
                  <a16:creationId xmlns:a16="http://schemas.microsoft.com/office/drawing/2014/main" id="{383569D8-B0DB-4829-B5E2-D0FED7C489EA}"/>
                </a:ext>
              </a:extLst>
            </p:cNvPr>
            <p:cNvSpPr>
              <a:spLocks/>
            </p:cNvSpPr>
            <p:nvPr/>
          </p:nvSpPr>
          <p:spPr bwMode="auto">
            <a:xfrm>
              <a:off x="5500688" y="-3967163"/>
              <a:ext cx="936625" cy="2314575"/>
            </a:xfrm>
            <a:custGeom>
              <a:avLst/>
              <a:gdLst/>
              <a:ahLst/>
              <a:cxnLst>
                <a:cxn ang="0">
                  <a:pos x="284" y="1458"/>
                </a:cxn>
                <a:cxn ang="0">
                  <a:pos x="284" y="1458"/>
                </a:cxn>
                <a:cxn ang="0">
                  <a:pos x="318" y="1434"/>
                </a:cxn>
                <a:cxn ang="0">
                  <a:pos x="354" y="1410"/>
                </a:cxn>
                <a:cxn ang="0">
                  <a:pos x="390" y="1390"/>
                </a:cxn>
                <a:cxn ang="0">
                  <a:pos x="428" y="1372"/>
                </a:cxn>
                <a:cxn ang="0">
                  <a:pos x="468" y="1354"/>
                </a:cxn>
                <a:cxn ang="0">
                  <a:pos x="508" y="1338"/>
                </a:cxn>
                <a:cxn ang="0">
                  <a:pos x="548" y="1326"/>
                </a:cxn>
                <a:cxn ang="0">
                  <a:pos x="590" y="1314"/>
                </a:cxn>
                <a:cxn ang="0">
                  <a:pos x="590" y="1314"/>
                </a:cxn>
                <a:cxn ang="0">
                  <a:pos x="558" y="1298"/>
                </a:cxn>
                <a:cxn ang="0">
                  <a:pos x="526" y="1280"/>
                </a:cxn>
                <a:cxn ang="0">
                  <a:pos x="496" y="1260"/>
                </a:cxn>
                <a:cxn ang="0">
                  <a:pos x="468" y="1236"/>
                </a:cxn>
                <a:cxn ang="0">
                  <a:pos x="442" y="1212"/>
                </a:cxn>
                <a:cxn ang="0">
                  <a:pos x="416" y="1186"/>
                </a:cxn>
                <a:cxn ang="0">
                  <a:pos x="394" y="1158"/>
                </a:cxn>
                <a:cxn ang="0">
                  <a:pos x="372" y="1130"/>
                </a:cxn>
                <a:cxn ang="0">
                  <a:pos x="354" y="1098"/>
                </a:cxn>
                <a:cxn ang="0">
                  <a:pos x="338" y="1066"/>
                </a:cxn>
                <a:cxn ang="0">
                  <a:pos x="322" y="1032"/>
                </a:cxn>
                <a:cxn ang="0">
                  <a:pos x="310" y="998"/>
                </a:cxn>
                <a:cxn ang="0">
                  <a:pos x="302" y="962"/>
                </a:cxn>
                <a:cxn ang="0">
                  <a:pos x="294" y="926"/>
                </a:cxn>
                <a:cxn ang="0">
                  <a:pos x="290" y="888"/>
                </a:cxn>
                <a:cxn ang="0">
                  <a:pos x="288" y="850"/>
                </a:cxn>
                <a:cxn ang="0">
                  <a:pos x="288" y="0"/>
                </a:cxn>
                <a:cxn ang="0">
                  <a:pos x="0" y="0"/>
                </a:cxn>
                <a:cxn ang="0">
                  <a:pos x="0" y="850"/>
                </a:cxn>
                <a:cxn ang="0">
                  <a:pos x="0" y="850"/>
                </a:cxn>
                <a:cxn ang="0">
                  <a:pos x="2" y="894"/>
                </a:cxn>
                <a:cxn ang="0">
                  <a:pos x="6" y="940"/>
                </a:cxn>
                <a:cxn ang="0">
                  <a:pos x="12" y="984"/>
                </a:cxn>
                <a:cxn ang="0">
                  <a:pos x="20" y="1026"/>
                </a:cxn>
                <a:cxn ang="0">
                  <a:pos x="32" y="1070"/>
                </a:cxn>
                <a:cxn ang="0">
                  <a:pos x="44" y="1110"/>
                </a:cxn>
                <a:cxn ang="0">
                  <a:pos x="60" y="1150"/>
                </a:cxn>
                <a:cxn ang="0">
                  <a:pos x="78" y="1190"/>
                </a:cxn>
                <a:cxn ang="0">
                  <a:pos x="96" y="1228"/>
                </a:cxn>
                <a:cxn ang="0">
                  <a:pos x="118" y="1266"/>
                </a:cxn>
                <a:cxn ang="0">
                  <a:pos x="142" y="1300"/>
                </a:cxn>
                <a:cxn ang="0">
                  <a:pos x="166" y="1336"/>
                </a:cxn>
                <a:cxn ang="0">
                  <a:pos x="194" y="1368"/>
                </a:cxn>
                <a:cxn ang="0">
                  <a:pos x="222" y="1400"/>
                </a:cxn>
                <a:cxn ang="0">
                  <a:pos x="252" y="1430"/>
                </a:cxn>
                <a:cxn ang="0">
                  <a:pos x="284" y="1458"/>
                </a:cxn>
                <a:cxn ang="0">
                  <a:pos x="284" y="1458"/>
                </a:cxn>
              </a:cxnLst>
              <a:rect l="0" t="0" r="r" b="b"/>
              <a:pathLst>
                <a:path w="590" h="1458">
                  <a:moveTo>
                    <a:pt x="284" y="1458"/>
                  </a:moveTo>
                  <a:lnTo>
                    <a:pt x="284" y="1458"/>
                  </a:lnTo>
                  <a:lnTo>
                    <a:pt x="318" y="1434"/>
                  </a:lnTo>
                  <a:lnTo>
                    <a:pt x="354" y="1410"/>
                  </a:lnTo>
                  <a:lnTo>
                    <a:pt x="390" y="1390"/>
                  </a:lnTo>
                  <a:lnTo>
                    <a:pt x="428" y="1372"/>
                  </a:lnTo>
                  <a:lnTo>
                    <a:pt x="468" y="1354"/>
                  </a:lnTo>
                  <a:lnTo>
                    <a:pt x="508" y="1338"/>
                  </a:lnTo>
                  <a:lnTo>
                    <a:pt x="548" y="1326"/>
                  </a:lnTo>
                  <a:lnTo>
                    <a:pt x="590" y="1314"/>
                  </a:lnTo>
                  <a:lnTo>
                    <a:pt x="590" y="1314"/>
                  </a:lnTo>
                  <a:lnTo>
                    <a:pt x="558" y="1298"/>
                  </a:lnTo>
                  <a:lnTo>
                    <a:pt x="526" y="1280"/>
                  </a:lnTo>
                  <a:lnTo>
                    <a:pt x="496" y="1260"/>
                  </a:lnTo>
                  <a:lnTo>
                    <a:pt x="468" y="1236"/>
                  </a:lnTo>
                  <a:lnTo>
                    <a:pt x="442" y="1212"/>
                  </a:lnTo>
                  <a:lnTo>
                    <a:pt x="416" y="1186"/>
                  </a:lnTo>
                  <a:lnTo>
                    <a:pt x="394" y="1158"/>
                  </a:lnTo>
                  <a:lnTo>
                    <a:pt x="372" y="1130"/>
                  </a:lnTo>
                  <a:lnTo>
                    <a:pt x="354" y="1098"/>
                  </a:lnTo>
                  <a:lnTo>
                    <a:pt x="338" y="1066"/>
                  </a:lnTo>
                  <a:lnTo>
                    <a:pt x="322" y="1032"/>
                  </a:lnTo>
                  <a:lnTo>
                    <a:pt x="310" y="998"/>
                  </a:lnTo>
                  <a:lnTo>
                    <a:pt x="302" y="962"/>
                  </a:lnTo>
                  <a:lnTo>
                    <a:pt x="294" y="926"/>
                  </a:lnTo>
                  <a:lnTo>
                    <a:pt x="290" y="888"/>
                  </a:lnTo>
                  <a:lnTo>
                    <a:pt x="288" y="850"/>
                  </a:lnTo>
                  <a:lnTo>
                    <a:pt x="288" y="0"/>
                  </a:lnTo>
                  <a:lnTo>
                    <a:pt x="0" y="0"/>
                  </a:lnTo>
                  <a:lnTo>
                    <a:pt x="0" y="850"/>
                  </a:lnTo>
                  <a:lnTo>
                    <a:pt x="0" y="850"/>
                  </a:lnTo>
                  <a:lnTo>
                    <a:pt x="2" y="894"/>
                  </a:lnTo>
                  <a:lnTo>
                    <a:pt x="6" y="940"/>
                  </a:lnTo>
                  <a:lnTo>
                    <a:pt x="12" y="984"/>
                  </a:lnTo>
                  <a:lnTo>
                    <a:pt x="20" y="1026"/>
                  </a:lnTo>
                  <a:lnTo>
                    <a:pt x="32" y="1070"/>
                  </a:lnTo>
                  <a:lnTo>
                    <a:pt x="44" y="1110"/>
                  </a:lnTo>
                  <a:lnTo>
                    <a:pt x="60" y="1150"/>
                  </a:lnTo>
                  <a:lnTo>
                    <a:pt x="78" y="1190"/>
                  </a:lnTo>
                  <a:lnTo>
                    <a:pt x="96" y="1228"/>
                  </a:lnTo>
                  <a:lnTo>
                    <a:pt x="118" y="1266"/>
                  </a:lnTo>
                  <a:lnTo>
                    <a:pt x="142" y="1300"/>
                  </a:lnTo>
                  <a:lnTo>
                    <a:pt x="166" y="1336"/>
                  </a:lnTo>
                  <a:lnTo>
                    <a:pt x="194" y="1368"/>
                  </a:lnTo>
                  <a:lnTo>
                    <a:pt x="222" y="1400"/>
                  </a:lnTo>
                  <a:lnTo>
                    <a:pt x="252" y="1430"/>
                  </a:lnTo>
                  <a:lnTo>
                    <a:pt x="284" y="1458"/>
                  </a:lnTo>
                  <a:lnTo>
                    <a:pt x="284" y="1458"/>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1" name="Freeform 73">
              <a:extLst>
                <a:ext uri="{FF2B5EF4-FFF2-40B4-BE49-F238E27FC236}">
                  <a16:creationId xmlns:a16="http://schemas.microsoft.com/office/drawing/2014/main" id="{7162D1C8-4C1A-4EC8-BB35-139C2B2EC6A4}"/>
                </a:ext>
              </a:extLst>
            </p:cNvPr>
            <p:cNvSpPr>
              <a:spLocks/>
            </p:cNvSpPr>
            <p:nvPr/>
          </p:nvSpPr>
          <p:spPr bwMode="auto">
            <a:xfrm>
              <a:off x="5500684" y="-3967162"/>
              <a:ext cx="2530475" cy="4772027"/>
            </a:xfrm>
            <a:custGeom>
              <a:avLst/>
              <a:gdLst/>
              <a:ahLst/>
              <a:cxnLst>
                <a:cxn ang="0">
                  <a:pos x="1306" y="0"/>
                </a:cxn>
                <a:cxn ang="0">
                  <a:pos x="1306" y="874"/>
                </a:cxn>
                <a:cxn ang="0">
                  <a:pos x="1302" y="918"/>
                </a:cxn>
                <a:cxn ang="0">
                  <a:pos x="1292" y="966"/>
                </a:cxn>
                <a:cxn ang="0">
                  <a:pos x="1262" y="1056"/>
                </a:cxn>
                <a:cxn ang="0">
                  <a:pos x="1218" y="1136"/>
                </a:cxn>
                <a:cxn ang="0">
                  <a:pos x="1160" y="1206"/>
                </a:cxn>
                <a:cxn ang="0">
                  <a:pos x="1092" y="1264"/>
                </a:cxn>
                <a:cxn ang="0">
                  <a:pos x="1014" y="1310"/>
                </a:cxn>
                <a:cxn ang="0">
                  <a:pos x="932" y="1340"/>
                </a:cxn>
                <a:cxn ang="0">
                  <a:pos x="842" y="1356"/>
                </a:cxn>
                <a:cxn ang="0">
                  <a:pos x="798" y="1360"/>
                </a:cxn>
                <a:cxn ang="0">
                  <a:pos x="756" y="1360"/>
                </a:cxn>
                <a:cxn ang="0">
                  <a:pos x="676" y="1368"/>
                </a:cxn>
                <a:cxn ang="0">
                  <a:pos x="598" y="1384"/>
                </a:cxn>
                <a:cxn ang="0">
                  <a:pos x="524" y="1408"/>
                </a:cxn>
                <a:cxn ang="0">
                  <a:pos x="452" y="1438"/>
                </a:cxn>
                <a:cxn ang="0">
                  <a:pos x="384" y="1476"/>
                </a:cxn>
                <a:cxn ang="0">
                  <a:pos x="320" y="1520"/>
                </a:cxn>
                <a:cxn ang="0">
                  <a:pos x="262" y="1568"/>
                </a:cxn>
                <a:cxn ang="0">
                  <a:pos x="208" y="1622"/>
                </a:cxn>
                <a:cxn ang="0">
                  <a:pos x="158" y="1682"/>
                </a:cxn>
                <a:cxn ang="0">
                  <a:pos x="116" y="1746"/>
                </a:cxn>
                <a:cxn ang="0">
                  <a:pos x="80" y="1812"/>
                </a:cxn>
                <a:cxn ang="0">
                  <a:pos x="50" y="1884"/>
                </a:cxn>
                <a:cxn ang="0">
                  <a:pos x="26" y="1958"/>
                </a:cxn>
                <a:cxn ang="0">
                  <a:pos x="10" y="2036"/>
                </a:cxn>
                <a:cxn ang="0">
                  <a:pos x="2" y="2116"/>
                </a:cxn>
                <a:cxn ang="0">
                  <a:pos x="0" y="3006"/>
                </a:cxn>
                <a:cxn ang="0">
                  <a:pos x="288" y="2156"/>
                </a:cxn>
                <a:cxn ang="0">
                  <a:pos x="290" y="2130"/>
                </a:cxn>
                <a:cxn ang="0">
                  <a:pos x="294" y="2078"/>
                </a:cxn>
                <a:cxn ang="0">
                  <a:pos x="304" y="2028"/>
                </a:cxn>
                <a:cxn ang="0">
                  <a:pos x="320" y="1980"/>
                </a:cxn>
                <a:cxn ang="0">
                  <a:pos x="340" y="1934"/>
                </a:cxn>
                <a:cxn ang="0">
                  <a:pos x="376" y="1870"/>
                </a:cxn>
                <a:cxn ang="0">
                  <a:pos x="440" y="1796"/>
                </a:cxn>
                <a:cxn ang="0">
                  <a:pos x="516" y="1734"/>
                </a:cxn>
                <a:cxn ang="0">
                  <a:pos x="602" y="1686"/>
                </a:cxn>
                <a:cxn ang="0">
                  <a:pos x="648" y="1670"/>
                </a:cxn>
                <a:cxn ang="0">
                  <a:pos x="696" y="1658"/>
                </a:cxn>
                <a:cxn ang="0">
                  <a:pos x="746" y="1650"/>
                </a:cxn>
                <a:cxn ang="0">
                  <a:pos x="798" y="1648"/>
                </a:cxn>
                <a:cxn ang="0">
                  <a:pos x="798" y="1646"/>
                </a:cxn>
                <a:cxn ang="0">
                  <a:pos x="880" y="1642"/>
                </a:cxn>
                <a:cxn ang="0">
                  <a:pos x="960" y="1630"/>
                </a:cxn>
                <a:cxn ang="0">
                  <a:pos x="1036" y="1610"/>
                </a:cxn>
                <a:cxn ang="0">
                  <a:pos x="1110" y="1582"/>
                </a:cxn>
                <a:cxn ang="0">
                  <a:pos x="1180" y="1548"/>
                </a:cxn>
                <a:cxn ang="0">
                  <a:pos x="1246" y="1508"/>
                </a:cxn>
                <a:cxn ang="0">
                  <a:pos x="1306" y="1462"/>
                </a:cxn>
                <a:cxn ang="0">
                  <a:pos x="1362" y="1410"/>
                </a:cxn>
                <a:cxn ang="0">
                  <a:pos x="1414" y="1352"/>
                </a:cxn>
                <a:cxn ang="0">
                  <a:pos x="1460" y="1290"/>
                </a:cxn>
                <a:cxn ang="0">
                  <a:pos x="1500" y="1226"/>
                </a:cxn>
                <a:cxn ang="0">
                  <a:pos x="1532" y="1156"/>
                </a:cxn>
                <a:cxn ang="0">
                  <a:pos x="1558" y="1084"/>
                </a:cxn>
                <a:cxn ang="0">
                  <a:pos x="1578" y="1008"/>
                </a:cxn>
                <a:cxn ang="0">
                  <a:pos x="1590" y="930"/>
                </a:cxn>
                <a:cxn ang="0">
                  <a:pos x="1594" y="850"/>
                </a:cxn>
                <a:cxn ang="0">
                  <a:pos x="1306" y="0"/>
                </a:cxn>
              </a:cxnLst>
              <a:rect l="0" t="0" r="r" b="b"/>
              <a:pathLst>
                <a:path w="1594" h="3006">
                  <a:moveTo>
                    <a:pt x="1306" y="0"/>
                  </a:moveTo>
                  <a:lnTo>
                    <a:pt x="1306" y="0"/>
                  </a:lnTo>
                  <a:lnTo>
                    <a:pt x="1308" y="774"/>
                  </a:lnTo>
                  <a:lnTo>
                    <a:pt x="1306" y="874"/>
                  </a:lnTo>
                  <a:lnTo>
                    <a:pt x="1304" y="898"/>
                  </a:lnTo>
                  <a:lnTo>
                    <a:pt x="1302" y="918"/>
                  </a:lnTo>
                  <a:lnTo>
                    <a:pt x="1302" y="918"/>
                  </a:lnTo>
                  <a:lnTo>
                    <a:pt x="1292" y="966"/>
                  </a:lnTo>
                  <a:lnTo>
                    <a:pt x="1280" y="1012"/>
                  </a:lnTo>
                  <a:lnTo>
                    <a:pt x="1262" y="1056"/>
                  </a:lnTo>
                  <a:lnTo>
                    <a:pt x="1242" y="1098"/>
                  </a:lnTo>
                  <a:lnTo>
                    <a:pt x="1218" y="1136"/>
                  </a:lnTo>
                  <a:lnTo>
                    <a:pt x="1190" y="1172"/>
                  </a:lnTo>
                  <a:lnTo>
                    <a:pt x="1160" y="1206"/>
                  </a:lnTo>
                  <a:lnTo>
                    <a:pt x="1126" y="1236"/>
                  </a:lnTo>
                  <a:lnTo>
                    <a:pt x="1092" y="1264"/>
                  </a:lnTo>
                  <a:lnTo>
                    <a:pt x="1054" y="1288"/>
                  </a:lnTo>
                  <a:lnTo>
                    <a:pt x="1014" y="1310"/>
                  </a:lnTo>
                  <a:lnTo>
                    <a:pt x="974" y="1326"/>
                  </a:lnTo>
                  <a:lnTo>
                    <a:pt x="932" y="1340"/>
                  </a:lnTo>
                  <a:lnTo>
                    <a:pt x="888" y="1350"/>
                  </a:lnTo>
                  <a:lnTo>
                    <a:pt x="842" y="1356"/>
                  </a:lnTo>
                  <a:lnTo>
                    <a:pt x="798" y="1358"/>
                  </a:lnTo>
                  <a:lnTo>
                    <a:pt x="798" y="1360"/>
                  </a:lnTo>
                  <a:lnTo>
                    <a:pt x="798" y="1360"/>
                  </a:lnTo>
                  <a:lnTo>
                    <a:pt x="756" y="1360"/>
                  </a:lnTo>
                  <a:lnTo>
                    <a:pt x="716" y="1364"/>
                  </a:lnTo>
                  <a:lnTo>
                    <a:pt x="676" y="1368"/>
                  </a:lnTo>
                  <a:lnTo>
                    <a:pt x="636" y="1376"/>
                  </a:lnTo>
                  <a:lnTo>
                    <a:pt x="598" y="1384"/>
                  </a:lnTo>
                  <a:lnTo>
                    <a:pt x="560" y="1396"/>
                  </a:lnTo>
                  <a:lnTo>
                    <a:pt x="524" y="1408"/>
                  </a:lnTo>
                  <a:lnTo>
                    <a:pt x="488" y="1422"/>
                  </a:lnTo>
                  <a:lnTo>
                    <a:pt x="452" y="1438"/>
                  </a:lnTo>
                  <a:lnTo>
                    <a:pt x="418" y="1456"/>
                  </a:lnTo>
                  <a:lnTo>
                    <a:pt x="384" y="1476"/>
                  </a:lnTo>
                  <a:lnTo>
                    <a:pt x="352" y="1496"/>
                  </a:lnTo>
                  <a:lnTo>
                    <a:pt x="320" y="1520"/>
                  </a:lnTo>
                  <a:lnTo>
                    <a:pt x="290" y="1542"/>
                  </a:lnTo>
                  <a:lnTo>
                    <a:pt x="262" y="1568"/>
                  </a:lnTo>
                  <a:lnTo>
                    <a:pt x="234" y="1594"/>
                  </a:lnTo>
                  <a:lnTo>
                    <a:pt x="208" y="1622"/>
                  </a:lnTo>
                  <a:lnTo>
                    <a:pt x="182" y="1652"/>
                  </a:lnTo>
                  <a:lnTo>
                    <a:pt x="158" y="1682"/>
                  </a:lnTo>
                  <a:lnTo>
                    <a:pt x="136" y="1712"/>
                  </a:lnTo>
                  <a:lnTo>
                    <a:pt x="116" y="1746"/>
                  </a:lnTo>
                  <a:lnTo>
                    <a:pt x="96" y="1778"/>
                  </a:lnTo>
                  <a:lnTo>
                    <a:pt x="80" y="1812"/>
                  </a:lnTo>
                  <a:lnTo>
                    <a:pt x="64" y="1848"/>
                  </a:lnTo>
                  <a:lnTo>
                    <a:pt x="50" y="1884"/>
                  </a:lnTo>
                  <a:lnTo>
                    <a:pt x="36" y="1920"/>
                  </a:lnTo>
                  <a:lnTo>
                    <a:pt x="26" y="1958"/>
                  </a:lnTo>
                  <a:lnTo>
                    <a:pt x="18" y="1996"/>
                  </a:lnTo>
                  <a:lnTo>
                    <a:pt x="10" y="2036"/>
                  </a:lnTo>
                  <a:lnTo>
                    <a:pt x="4" y="2076"/>
                  </a:lnTo>
                  <a:lnTo>
                    <a:pt x="2" y="2116"/>
                  </a:lnTo>
                  <a:lnTo>
                    <a:pt x="0" y="2156"/>
                  </a:lnTo>
                  <a:lnTo>
                    <a:pt x="0" y="3006"/>
                  </a:lnTo>
                  <a:lnTo>
                    <a:pt x="288" y="3006"/>
                  </a:lnTo>
                  <a:lnTo>
                    <a:pt x="288" y="2156"/>
                  </a:lnTo>
                  <a:lnTo>
                    <a:pt x="288" y="2156"/>
                  </a:lnTo>
                  <a:lnTo>
                    <a:pt x="290" y="2130"/>
                  </a:lnTo>
                  <a:lnTo>
                    <a:pt x="292" y="2104"/>
                  </a:lnTo>
                  <a:lnTo>
                    <a:pt x="294" y="2078"/>
                  </a:lnTo>
                  <a:lnTo>
                    <a:pt x="300" y="2052"/>
                  </a:lnTo>
                  <a:lnTo>
                    <a:pt x="304" y="2028"/>
                  </a:lnTo>
                  <a:lnTo>
                    <a:pt x="312" y="2004"/>
                  </a:lnTo>
                  <a:lnTo>
                    <a:pt x="320" y="1980"/>
                  </a:lnTo>
                  <a:lnTo>
                    <a:pt x="330" y="1958"/>
                  </a:lnTo>
                  <a:lnTo>
                    <a:pt x="340" y="1934"/>
                  </a:lnTo>
                  <a:lnTo>
                    <a:pt x="350" y="1912"/>
                  </a:lnTo>
                  <a:lnTo>
                    <a:pt x="376" y="1870"/>
                  </a:lnTo>
                  <a:lnTo>
                    <a:pt x="406" y="1832"/>
                  </a:lnTo>
                  <a:lnTo>
                    <a:pt x="440" y="1796"/>
                  </a:lnTo>
                  <a:lnTo>
                    <a:pt x="476" y="1762"/>
                  </a:lnTo>
                  <a:lnTo>
                    <a:pt x="516" y="1734"/>
                  </a:lnTo>
                  <a:lnTo>
                    <a:pt x="558" y="1708"/>
                  </a:lnTo>
                  <a:lnTo>
                    <a:pt x="602" y="1686"/>
                  </a:lnTo>
                  <a:lnTo>
                    <a:pt x="624" y="1678"/>
                  </a:lnTo>
                  <a:lnTo>
                    <a:pt x="648" y="1670"/>
                  </a:lnTo>
                  <a:lnTo>
                    <a:pt x="672" y="1664"/>
                  </a:lnTo>
                  <a:lnTo>
                    <a:pt x="696" y="1658"/>
                  </a:lnTo>
                  <a:lnTo>
                    <a:pt x="722" y="1652"/>
                  </a:lnTo>
                  <a:lnTo>
                    <a:pt x="746" y="1650"/>
                  </a:lnTo>
                  <a:lnTo>
                    <a:pt x="772" y="1648"/>
                  </a:lnTo>
                  <a:lnTo>
                    <a:pt x="798" y="1648"/>
                  </a:lnTo>
                  <a:lnTo>
                    <a:pt x="798" y="1646"/>
                  </a:lnTo>
                  <a:lnTo>
                    <a:pt x="798" y="1646"/>
                  </a:lnTo>
                  <a:lnTo>
                    <a:pt x="838" y="1646"/>
                  </a:lnTo>
                  <a:lnTo>
                    <a:pt x="880" y="1642"/>
                  </a:lnTo>
                  <a:lnTo>
                    <a:pt x="920" y="1636"/>
                  </a:lnTo>
                  <a:lnTo>
                    <a:pt x="960" y="1630"/>
                  </a:lnTo>
                  <a:lnTo>
                    <a:pt x="998" y="1620"/>
                  </a:lnTo>
                  <a:lnTo>
                    <a:pt x="1036" y="1610"/>
                  </a:lnTo>
                  <a:lnTo>
                    <a:pt x="1074" y="1596"/>
                  </a:lnTo>
                  <a:lnTo>
                    <a:pt x="1110" y="1582"/>
                  </a:lnTo>
                  <a:lnTo>
                    <a:pt x="1146" y="1566"/>
                  </a:lnTo>
                  <a:lnTo>
                    <a:pt x="1180" y="1548"/>
                  </a:lnTo>
                  <a:lnTo>
                    <a:pt x="1214" y="1528"/>
                  </a:lnTo>
                  <a:lnTo>
                    <a:pt x="1246" y="1508"/>
                  </a:lnTo>
                  <a:lnTo>
                    <a:pt x="1276" y="1486"/>
                  </a:lnTo>
                  <a:lnTo>
                    <a:pt x="1306" y="1462"/>
                  </a:lnTo>
                  <a:lnTo>
                    <a:pt x="1336" y="1436"/>
                  </a:lnTo>
                  <a:lnTo>
                    <a:pt x="1362" y="1410"/>
                  </a:lnTo>
                  <a:lnTo>
                    <a:pt x="1390" y="1382"/>
                  </a:lnTo>
                  <a:lnTo>
                    <a:pt x="1414" y="1352"/>
                  </a:lnTo>
                  <a:lnTo>
                    <a:pt x="1438" y="1322"/>
                  </a:lnTo>
                  <a:lnTo>
                    <a:pt x="1460" y="1290"/>
                  </a:lnTo>
                  <a:lnTo>
                    <a:pt x="1480" y="1258"/>
                  </a:lnTo>
                  <a:lnTo>
                    <a:pt x="1500" y="1226"/>
                  </a:lnTo>
                  <a:lnTo>
                    <a:pt x="1516" y="1190"/>
                  </a:lnTo>
                  <a:lnTo>
                    <a:pt x="1532" y="1156"/>
                  </a:lnTo>
                  <a:lnTo>
                    <a:pt x="1546" y="1120"/>
                  </a:lnTo>
                  <a:lnTo>
                    <a:pt x="1558" y="1084"/>
                  </a:lnTo>
                  <a:lnTo>
                    <a:pt x="1570" y="1046"/>
                  </a:lnTo>
                  <a:lnTo>
                    <a:pt x="1578" y="1008"/>
                  </a:lnTo>
                  <a:lnTo>
                    <a:pt x="1586" y="968"/>
                  </a:lnTo>
                  <a:lnTo>
                    <a:pt x="1590" y="930"/>
                  </a:lnTo>
                  <a:lnTo>
                    <a:pt x="1594" y="890"/>
                  </a:lnTo>
                  <a:lnTo>
                    <a:pt x="1594" y="850"/>
                  </a:lnTo>
                  <a:lnTo>
                    <a:pt x="1594" y="0"/>
                  </a:lnTo>
                  <a:lnTo>
                    <a:pt x="130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2" name="Freeform 74">
              <a:extLst>
                <a:ext uri="{FF2B5EF4-FFF2-40B4-BE49-F238E27FC236}">
                  <a16:creationId xmlns:a16="http://schemas.microsoft.com/office/drawing/2014/main" id="{A848D1B1-63D6-4CC1-8133-9CC1A075DB42}"/>
                </a:ext>
              </a:extLst>
            </p:cNvPr>
            <p:cNvSpPr>
              <a:spLocks/>
            </p:cNvSpPr>
            <p:nvPr/>
          </p:nvSpPr>
          <p:spPr bwMode="auto">
            <a:xfrm>
              <a:off x="6072188" y="-3967163"/>
              <a:ext cx="1387475" cy="190500"/>
            </a:xfrm>
            <a:custGeom>
              <a:avLst/>
              <a:gdLst/>
              <a:ahLst/>
              <a:cxnLst>
                <a:cxn ang="0">
                  <a:pos x="60" y="120"/>
                </a:cxn>
                <a:cxn ang="0">
                  <a:pos x="816" y="120"/>
                </a:cxn>
                <a:cxn ang="0">
                  <a:pos x="816" y="120"/>
                </a:cxn>
                <a:cxn ang="0">
                  <a:pos x="828" y="118"/>
                </a:cxn>
                <a:cxn ang="0">
                  <a:pos x="838" y="116"/>
                </a:cxn>
                <a:cxn ang="0">
                  <a:pos x="848" y="110"/>
                </a:cxn>
                <a:cxn ang="0">
                  <a:pos x="858" y="102"/>
                </a:cxn>
                <a:cxn ang="0">
                  <a:pos x="864" y="94"/>
                </a:cxn>
                <a:cxn ang="0">
                  <a:pos x="870" y="84"/>
                </a:cxn>
                <a:cxn ang="0">
                  <a:pos x="874" y="72"/>
                </a:cxn>
                <a:cxn ang="0">
                  <a:pos x="874" y="60"/>
                </a:cxn>
                <a:cxn ang="0">
                  <a:pos x="874" y="60"/>
                </a:cxn>
                <a:cxn ang="0">
                  <a:pos x="874" y="48"/>
                </a:cxn>
                <a:cxn ang="0">
                  <a:pos x="870" y="38"/>
                </a:cxn>
                <a:cxn ang="0">
                  <a:pos x="864" y="28"/>
                </a:cxn>
                <a:cxn ang="0">
                  <a:pos x="858" y="18"/>
                </a:cxn>
                <a:cxn ang="0">
                  <a:pos x="848" y="12"/>
                </a:cxn>
                <a:cxn ang="0">
                  <a:pos x="838" y="6"/>
                </a:cxn>
                <a:cxn ang="0">
                  <a:pos x="828" y="2"/>
                </a:cxn>
                <a:cxn ang="0">
                  <a:pos x="816" y="0"/>
                </a:cxn>
                <a:cxn ang="0">
                  <a:pos x="60" y="0"/>
                </a:cxn>
                <a:cxn ang="0">
                  <a:pos x="60" y="0"/>
                </a:cxn>
                <a:cxn ang="0">
                  <a:pos x="48" y="2"/>
                </a:cxn>
                <a:cxn ang="0">
                  <a:pos x="36" y="6"/>
                </a:cxn>
                <a:cxn ang="0">
                  <a:pos x="26" y="12"/>
                </a:cxn>
                <a:cxn ang="0">
                  <a:pos x="18" y="18"/>
                </a:cxn>
                <a:cxn ang="0">
                  <a:pos x="10" y="28"/>
                </a:cxn>
                <a:cxn ang="0">
                  <a:pos x="4" y="38"/>
                </a:cxn>
                <a:cxn ang="0">
                  <a:pos x="2" y="48"/>
                </a:cxn>
                <a:cxn ang="0">
                  <a:pos x="0" y="60"/>
                </a:cxn>
                <a:cxn ang="0">
                  <a:pos x="0" y="60"/>
                </a:cxn>
                <a:cxn ang="0">
                  <a:pos x="2" y="72"/>
                </a:cxn>
                <a:cxn ang="0">
                  <a:pos x="4" y="84"/>
                </a:cxn>
                <a:cxn ang="0">
                  <a:pos x="10" y="94"/>
                </a:cxn>
                <a:cxn ang="0">
                  <a:pos x="18" y="102"/>
                </a:cxn>
                <a:cxn ang="0">
                  <a:pos x="26" y="110"/>
                </a:cxn>
                <a:cxn ang="0">
                  <a:pos x="36" y="116"/>
                </a:cxn>
                <a:cxn ang="0">
                  <a:pos x="48" y="118"/>
                </a:cxn>
                <a:cxn ang="0">
                  <a:pos x="60" y="120"/>
                </a:cxn>
                <a:cxn ang="0">
                  <a:pos x="60" y="120"/>
                </a:cxn>
              </a:cxnLst>
              <a:rect l="0" t="0" r="r" b="b"/>
              <a:pathLst>
                <a:path w="874" h="120">
                  <a:moveTo>
                    <a:pt x="60" y="120"/>
                  </a:moveTo>
                  <a:lnTo>
                    <a:pt x="816" y="120"/>
                  </a:lnTo>
                  <a:lnTo>
                    <a:pt x="816" y="120"/>
                  </a:lnTo>
                  <a:lnTo>
                    <a:pt x="828" y="118"/>
                  </a:lnTo>
                  <a:lnTo>
                    <a:pt x="838" y="116"/>
                  </a:lnTo>
                  <a:lnTo>
                    <a:pt x="848" y="110"/>
                  </a:lnTo>
                  <a:lnTo>
                    <a:pt x="858" y="102"/>
                  </a:lnTo>
                  <a:lnTo>
                    <a:pt x="864" y="94"/>
                  </a:lnTo>
                  <a:lnTo>
                    <a:pt x="870" y="84"/>
                  </a:lnTo>
                  <a:lnTo>
                    <a:pt x="874" y="72"/>
                  </a:lnTo>
                  <a:lnTo>
                    <a:pt x="874" y="60"/>
                  </a:lnTo>
                  <a:lnTo>
                    <a:pt x="874" y="60"/>
                  </a:lnTo>
                  <a:lnTo>
                    <a:pt x="874" y="48"/>
                  </a:lnTo>
                  <a:lnTo>
                    <a:pt x="870" y="38"/>
                  </a:lnTo>
                  <a:lnTo>
                    <a:pt x="864" y="28"/>
                  </a:lnTo>
                  <a:lnTo>
                    <a:pt x="858" y="18"/>
                  </a:lnTo>
                  <a:lnTo>
                    <a:pt x="848" y="12"/>
                  </a:lnTo>
                  <a:lnTo>
                    <a:pt x="838" y="6"/>
                  </a:lnTo>
                  <a:lnTo>
                    <a:pt x="828" y="2"/>
                  </a:lnTo>
                  <a:lnTo>
                    <a:pt x="816" y="0"/>
                  </a:lnTo>
                  <a:lnTo>
                    <a:pt x="60" y="0"/>
                  </a:lnTo>
                  <a:lnTo>
                    <a:pt x="60" y="0"/>
                  </a:lnTo>
                  <a:lnTo>
                    <a:pt x="48" y="2"/>
                  </a:lnTo>
                  <a:lnTo>
                    <a:pt x="36" y="6"/>
                  </a:lnTo>
                  <a:lnTo>
                    <a:pt x="26" y="12"/>
                  </a:lnTo>
                  <a:lnTo>
                    <a:pt x="18" y="18"/>
                  </a:lnTo>
                  <a:lnTo>
                    <a:pt x="10" y="28"/>
                  </a:lnTo>
                  <a:lnTo>
                    <a:pt x="4" y="38"/>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60" y="12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3" name="Freeform 75">
              <a:extLst>
                <a:ext uri="{FF2B5EF4-FFF2-40B4-BE49-F238E27FC236}">
                  <a16:creationId xmlns:a16="http://schemas.microsoft.com/office/drawing/2014/main" id="{5BA43526-9F7A-4360-B873-37DE4A7C9BBB}"/>
                </a:ext>
              </a:extLst>
            </p:cNvPr>
            <p:cNvSpPr>
              <a:spLocks/>
            </p:cNvSpPr>
            <p:nvPr/>
          </p:nvSpPr>
          <p:spPr bwMode="auto">
            <a:xfrm>
              <a:off x="6072188" y="-3519488"/>
              <a:ext cx="1387475" cy="190500"/>
            </a:xfrm>
            <a:custGeom>
              <a:avLst/>
              <a:gdLst/>
              <a:ahLst/>
              <a:cxnLst>
                <a:cxn ang="0">
                  <a:pos x="60" y="120"/>
                </a:cxn>
                <a:cxn ang="0">
                  <a:pos x="816" y="120"/>
                </a:cxn>
                <a:cxn ang="0">
                  <a:pos x="816" y="120"/>
                </a:cxn>
                <a:cxn ang="0">
                  <a:pos x="828" y="118"/>
                </a:cxn>
                <a:cxn ang="0">
                  <a:pos x="838" y="116"/>
                </a:cxn>
                <a:cxn ang="0">
                  <a:pos x="848" y="110"/>
                </a:cxn>
                <a:cxn ang="0">
                  <a:pos x="858" y="102"/>
                </a:cxn>
                <a:cxn ang="0">
                  <a:pos x="864" y="94"/>
                </a:cxn>
                <a:cxn ang="0">
                  <a:pos x="870" y="84"/>
                </a:cxn>
                <a:cxn ang="0">
                  <a:pos x="874" y="72"/>
                </a:cxn>
                <a:cxn ang="0">
                  <a:pos x="874" y="60"/>
                </a:cxn>
                <a:cxn ang="0">
                  <a:pos x="874" y="60"/>
                </a:cxn>
                <a:cxn ang="0">
                  <a:pos x="874" y="48"/>
                </a:cxn>
                <a:cxn ang="0">
                  <a:pos x="870" y="38"/>
                </a:cxn>
                <a:cxn ang="0">
                  <a:pos x="864" y="28"/>
                </a:cxn>
                <a:cxn ang="0">
                  <a:pos x="858" y="18"/>
                </a:cxn>
                <a:cxn ang="0">
                  <a:pos x="848" y="10"/>
                </a:cxn>
                <a:cxn ang="0">
                  <a:pos x="838" y="6"/>
                </a:cxn>
                <a:cxn ang="0">
                  <a:pos x="828" y="2"/>
                </a:cxn>
                <a:cxn ang="0">
                  <a:pos x="816" y="0"/>
                </a:cxn>
                <a:cxn ang="0">
                  <a:pos x="60" y="0"/>
                </a:cxn>
                <a:cxn ang="0">
                  <a:pos x="60" y="0"/>
                </a:cxn>
                <a:cxn ang="0">
                  <a:pos x="48" y="2"/>
                </a:cxn>
                <a:cxn ang="0">
                  <a:pos x="36" y="6"/>
                </a:cxn>
                <a:cxn ang="0">
                  <a:pos x="26" y="10"/>
                </a:cxn>
                <a:cxn ang="0">
                  <a:pos x="18" y="18"/>
                </a:cxn>
                <a:cxn ang="0">
                  <a:pos x="10" y="28"/>
                </a:cxn>
                <a:cxn ang="0">
                  <a:pos x="4" y="38"/>
                </a:cxn>
                <a:cxn ang="0">
                  <a:pos x="2" y="48"/>
                </a:cxn>
                <a:cxn ang="0">
                  <a:pos x="0" y="60"/>
                </a:cxn>
                <a:cxn ang="0">
                  <a:pos x="0" y="60"/>
                </a:cxn>
                <a:cxn ang="0">
                  <a:pos x="2" y="72"/>
                </a:cxn>
                <a:cxn ang="0">
                  <a:pos x="4" y="84"/>
                </a:cxn>
                <a:cxn ang="0">
                  <a:pos x="10" y="94"/>
                </a:cxn>
                <a:cxn ang="0">
                  <a:pos x="18" y="102"/>
                </a:cxn>
                <a:cxn ang="0">
                  <a:pos x="26" y="110"/>
                </a:cxn>
                <a:cxn ang="0">
                  <a:pos x="36" y="116"/>
                </a:cxn>
                <a:cxn ang="0">
                  <a:pos x="48" y="118"/>
                </a:cxn>
                <a:cxn ang="0">
                  <a:pos x="60" y="120"/>
                </a:cxn>
                <a:cxn ang="0">
                  <a:pos x="60" y="120"/>
                </a:cxn>
              </a:cxnLst>
              <a:rect l="0" t="0" r="r" b="b"/>
              <a:pathLst>
                <a:path w="874" h="120">
                  <a:moveTo>
                    <a:pt x="60" y="120"/>
                  </a:moveTo>
                  <a:lnTo>
                    <a:pt x="816" y="120"/>
                  </a:lnTo>
                  <a:lnTo>
                    <a:pt x="816" y="120"/>
                  </a:lnTo>
                  <a:lnTo>
                    <a:pt x="828" y="118"/>
                  </a:lnTo>
                  <a:lnTo>
                    <a:pt x="838" y="116"/>
                  </a:lnTo>
                  <a:lnTo>
                    <a:pt x="848" y="110"/>
                  </a:lnTo>
                  <a:lnTo>
                    <a:pt x="858" y="102"/>
                  </a:lnTo>
                  <a:lnTo>
                    <a:pt x="864" y="94"/>
                  </a:lnTo>
                  <a:lnTo>
                    <a:pt x="870" y="84"/>
                  </a:lnTo>
                  <a:lnTo>
                    <a:pt x="874" y="72"/>
                  </a:lnTo>
                  <a:lnTo>
                    <a:pt x="874" y="60"/>
                  </a:lnTo>
                  <a:lnTo>
                    <a:pt x="874" y="60"/>
                  </a:lnTo>
                  <a:lnTo>
                    <a:pt x="874" y="48"/>
                  </a:lnTo>
                  <a:lnTo>
                    <a:pt x="870" y="38"/>
                  </a:lnTo>
                  <a:lnTo>
                    <a:pt x="864" y="28"/>
                  </a:lnTo>
                  <a:lnTo>
                    <a:pt x="858" y="18"/>
                  </a:lnTo>
                  <a:lnTo>
                    <a:pt x="848" y="10"/>
                  </a:lnTo>
                  <a:lnTo>
                    <a:pt x="838" y="6"/>
                  </a:lnTo>
                  <a:lnTo>
                    <a:pt x="828" y="2"/>
                  </a:lnTo>
                  <a:lnTo>
                    <a:pt x="816" y="0"/>
                  </a:lnTo>
                  <a:lnTo>
                    <a:pt x="60" y="0"/>
                  </a:lnTo>
                  <a:lnTo>
                    <a:pt x="60" y="0"/>
                  </a:lnTo>
                  <a:lnTo>
                    <a:pt x="48" y="2"/>
                  </a:lnTo>
                  <a:lnTo>
                    <a:pt x="36" y="6"/>
                  </a:lnTo>
                  <a:lnTo>
                    <a:pt x="26" y="10"/>
                  </a:lnTo>
                  <a:lnTo>
                    <a:pt x="18" y="18"/>
                  </a:lnTo>
                  <a:lnTo>
                    <a:pt x="10" y="28"/>
                  </a:lnTo>
                  <a:lnTo>
                    <a:pt x="4" y="38"/>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60" y="12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4" name="Freeform 76">
              <a:extLst>
                <a:ext uri="{FF2B5EF4-FFF2-40B4-BE49-F238E27FC236}">
                  <a16:creationId xmlns:a16="http://schemas.microsoft.com/office/drawing/2014/main" id="{68B6B8D3-F542-4734-B4E9-F591BC97B510}"/>
                </a:ext>
              </a:extLst>
            </p:cNvPr>
            <p:cNvSpPr>
              <a:spLocks/>
            </p:cNvSpPr>
            <p:nvPr/>
          </p:nvSpPr>
          <p:spPr bwMode="auto">
            <a:xfrm>
              <a:off x="6072188" y="-3071813"/>
              <a:ext cx="1387475" cy="190500"/>
            </a:xfrm>
            <a:custGeom>
              <a:avLst/>
              <a:gdLst/>
              <a:ahLst/>
              <a:cxnLst>
                <a:cxn ang="0">
                  <a:pos x="60" y="120"/>
                </a:cxn>
                <a:cxn ang="0">
                  <a:pos x="816" y="120"/>
                </a:cxn>
                <a:cxn ang="0">
                  <a:pos x="816" y="120"/>
                </a:cxn>
                <a:cxn ang="0">
                  <a:pos x="828" y="118"/>
                </a:cxn>
                <a:cxn ang="0">
                  <a:pos x="838" y="116"/>
                </a:cxn>
                <a:cxn ang="0">
                  <a:pos x="848" y="110"/>
                </a:cxn>
                <a:cxn ang="0">
                  <a:pos x="858" y="102"/>
                </a:cxn>
                <a:cxn ang="0">
                  <a:pos x="864" y="94"/>
                </a:cxn>
                <a:cxn ang="0">
                  <a:pos x="870" y="84"/>
                </a:cxn>
                <a:cxn ang="0">
                  <a:pos x="874" y="72"/>
                </a:cxn>
                <a:cxn ang="0">
                  <a:pos x="874" y="60"/>
                </a:cxn>
                <a:cxn ang="0">
                  <a:pos x="874" y="60"/>
                </a:cxn>
                <a:cxn ang="0">
                  <a:pos x="874" y="48"/>
                </a:cxn>
                <a:cxn ang="0">
                  <a:pos x="870" y="38"/>
                </a:cxn>
                <a:cxn ang="0">
                  <a:pos x="864" y="26"/>
                </a:cxn>
                <a:cxn ang="0">
                  <a:pos x="858" y="18"/>
                </a:cxn>
                <a:cxn ang="0">
                  <a:pos x="848" y="10"/>
                </a:cxn>
                <a:cxn ang="0">
                  <a:pos x="838" y="6"/>
                </a:cxn>
                <a:cxn ang="0">
                  <a:pos x="828" y="2"/>
                </a:cxn>
                <a:cxn ang="0">
                  <a:pos x="816" y="0"/>
                </a:cxn>
                <a:cxn ang="0">
                  <a:pos x="60" y="0"/>
                </a:cxn>
                <a:cxn ang="0">
                  <a:pos x="60" y="0"/>
                </a:cxn>
                <a:cxn ang="0">
                  <a:pos x="48" y="2"/>
                </a:cxn>
                <a:cxn ang="0">
                  <a:pos x="36" y="6"/>
                </a:cxn>
                <a:cxn ang="0">
                  <a:pos x="26" y="10"/>
                </a:cxn>
                <a:cxn ang="0">
                  <a:pos x="18" y="18"/>
                </a:cxn>
                <a:cxn ang="0">
                  <a:pos x="10" y="26"/>
                </a:cxn>
                <a:cxn ang="0">
                  <a:pos x="4" y="38"/>
                </a:cxn>
                <a:cxn ang="0">
                  <a:pos x="2" y="48"/>
                </a:cxn>
                <a:cxn ang="0">
                  <a:pos x="0" y="60"/>
                </a:cxn>
                <a:cxn ang="0">
                  <a:pos x="0" y="60"/>
                </a:cxn>
                <a:cxn ang="0">
                  <a:pos x="2" y="72"/>
                </a:cxn>
                <a:cxn ang="0">
                  <a:pos x="4" y="84"/>
                </a:cxn>
                <a:cxn ang="0">
                  <a:pos x="10" y="94"/>
                </a:cxn>
                <a:cxn ang="0">
                  <a:pos x="18" y="102"/>
                </a:cxn>
                <a:cxn ang="0">
                  <a:pos x="26" y="110"/>
                </a:cxn>
                <a:cxn ang="0">
                  <a:pos x="36" y="116"/>
                </a:cxn>
                <a:cxn ang="0">
                  <a:pos x="48" y="118"/>
                </a:cxn>
                <a:cxn ang="0">
                  <a:pos x="60" y="120"/>
                </a:cxn>
                <a:cxn ang="0">
                  <a:pos x="60" y="120"/>
                </a:cxn>
              </a:cxnLst>
              <a:rect l="0" t="0" r="r" b="b"/>
              <a:pathLst>
                <a:path w="874" h="120">
                  <a:moveTo>
                    <a:pt x="60" y="120"/>
                  </a:moveTo>
                  <a:lnTo>
                    <a:pt x="816" y="120"/>
                  </a:lnTo>
                  <a:lnTo>
                    <a:pt x="816" y="120"/>
                  </a:lnTo>
                  <a:lnTo>
                    <a:pt x="828" y="118"/>
                  </a:lnTo>
                  <a:lnTo>
                    <a:pt x="838" y="116"/>
                  </a:lnTo>
                  <a:lnTo>
                    <a:pt x="848" y="110"/>
                  </a:lnTo>
                  <a:lnTo>
                    <a:pt x="858" y="102"/>
                  </a:lnTo>
                  <a:lnTo>
                    <a:pt x="864" y="94"/>
                  </a:lnTo>
                  <a:lnTo>
                    <a:pt x="870" y="84"/>
                  </a:lnTo>
                  <a:lnTo>
                    <a:pt x="874" y="72"/>
                  </a:lnTo>
                  <a:lnTo>
                    <a:pt x="874" y="60"/>
                  </a:lnTo>
                  <a:lnTo>
                    <a:pt x="874" y="60"/>
                  </a:lnTo>
                  <a:lnTo>
                    <a:pt x="874" y="48"/>
                  </a:lnTo>
                  <a:lnTo>
                    <a:pt x="870" y="38"/>
                  </a:lnTo>
                  <a:lnTo>
                    <a:pt x="864" y="26"/>
                  </a:lnTo>
                  <a:lnTo>
                    <a:pt x="858" y="18"/>
                  </a:lnTo>
                  <a:lnTo>
                    <a:pt x="848" y="10"/>
                  </a:lnTo>
                  <a:lnTo>
                    <a:pt x="838" y="6"/>
                  </a:lnTo>
                  <a:lnTo>
                    <a:pt x="828" y="2"/>
                  </a:lnTo>
                  <a:lnTo>
                    <a:pt x="816" y="0"/>
                  </a:lnTo>
                  <a:lnTo>
                    <a:pt x="60" y="0"/>
                  </a:lnTo>
                  <a:lnTo>
                    <a:pt x="60" y="0"/>
                  </a:lnTo>
                  <a:lnTo>
                    <a:pt x="48" y="2"/>
                  </a:lnTo>
                  <a:lnTo>
                    <a:pt x="36" y="6"/>
                  </a:lnTo>
                  <a:lnTo>
                    <a:pt x="26" y="10"/>
                  </a:lnTo>
                  <a:lnTo>
                    <a:pt x="18" y="18"/>
                  </a:lnTo>
                  <a:lnTo>
                    <a:pt x="10" y="26"/>
                  </a:lnTo>
                  <a:lnTo>
                    <a:pt x="4" y="38"/>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60" y="12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5" name="Freeform 77">
              <a:extLst>
                <a:ext uri="{FF2B5EF4-FFF2-40B4-BE49-F238E27FC236}">
                  <a16:creationId xmlns:a16="http://schemas.microsoft.com/office/drawing/2014/main" id="{525D3576-7610-4641-81D3-761B33A5AD02}"/>
                </a:ext>
              </a:extLst>
            </p:cNvPr>
            <p:cNvSpPr>
              <a:spLocks/>
            </p:cNvSpPr>
            <p:nvPr/>
          </p:nvSpPr>
          <p:spPr bwMode="auto">
            <a:xfrm>
              <a:off x="6094413" y="-2624138"/>
              <a:ext cx="1343025" cy="190500"/>
            </a:xfrm>
            <a:custGeom>
              <a:avLst/>
              <a:gdLst/>
              <a:ahLst/>
              <a:cxnLst>
                <a:cxn ang="0">
                  <a:pos x="846" y="60"/>
                </a:cxn>
                <a:cxn ang="0">
                  <a:pos x="846" y="60"/>
                </a:cxn>
                <a:cxn ang="0">
                  <a:pos x="846" y="48"/>
                </a:cxn>
                <a:cxn ang="0">
                  <a:pos x="842" y="36"/>
                </a:cxn>
                <a:cxn ang="0">
                  <a:pos x="836" y="26"/>
                </a:cxn>
                <a:cxn ang="0">
                  <a:pos x="830" y="18"/>
                </a:cxn>
                <a:cxn ang="0">
                  <a:pos x="820" y="10"/>
                </a:cxn>
                <a:cxn ang="0">
                  <a:pos x="810" y="6"/>
                </a:cxn>
                <a:cxn ang="0">
                  <a:pos x="800" y="2"/>
                </a:cxn>
                <a:cxn ang="0">
                  <a:pos x="788" y="0"/>
                </a:cxn>
                <a:cxn ang="0">
                  <a:pos x="60" y="0"/>
                </a:cxn>
                <a:cxn ang="0">
                  <a:pos x="60" y="0"/>
                </a:cxn>
                <a:cxn ang="0">
                  <a:pos x="48" y="2"/>
                </a:cxn>
                <a:cxn ang="0">
                  <a:pos x="36" y="6"/>
                </a:cxn>
                <a:cxn ang="0">
                  <a:pos x="26" y="10"/>
                </a:cxn>
                <a:cxn ang="0">
                  <a:pos x="18" y="18"/>
                </a:cxn>
                <a:cxn ang="0">
                  <a:pos x="10" y="26"/>
                </a:cxn>
                <a:cxn ang="0">
                  <a:pos x="6" y="36"/>
                </a:cxn>
                <a:cxn ang="0">
                  <a:pos x="2" y="48"/>
                </a:cxn>
                <a:cxn ang="0">
                  <a:pos x="0" y="60"/>
                </a:cxn>
                <a:cxn ang="0">
                  <a:pos x="0" y="60"/>
                </a:cxn>
                <a:cxn ang="0">
                  <a:pos x="2" y="72"/>
                </a:cxn>
                <a:cxn ang="0">
                  <a:pos x="6" y="84"/>
                </a:cxn>
                <a:cxn ang="0">
                  <a:pos x="10" y="94"/>
                </a:cxn>
                <a:cxn ang="0">
                  <a:pos x="18" y="102"/>
                </a:cxn>
                <a:cxn ang="0">
                  <a:pos x="26" y="110"/>
                </a:cxn>
                <a:cxn ang="0">
                  <a:pos x="36" y="116"/>
                </a:cxn>
                <a:cxn ang="0">
                  <a:pos x="48" y="118"/>
                </a:cxn>
                <a:cxn ang="0">
                  <a:pos x="60" y="120"/>
                </a:cxn>
                <a:cxn ang="0">
                  <a:pos x="788" y="120"/>
                </a:cxn>
                <a:cxn ang="0">
                  <a:pos x="788" y="120"/>
                </a:cxn>
                <a:cxn ang="0">
                  <a:pos x="800" y="118"/>
                </a:cxn>
                <a:cxn ang="0">
                  <a:pos x="810" y="116"/>
                </a:cxn>
                <a:cxn ang="0">
                  <a:pos x="820" y="110"/>
                </a:cxn>
                <a:cxn ang="0">
                  <a:pos x="830" y="102"/>
                </a:cxn>
                <a:cxn ang="0">
                  <a:pos x="836" y="94"/>
                </a:cxn>
                <a:cxn ang="0">
                  <a:pos x="842" y="84"/>
                </a:cxn>
                <a:cxn ang="0">
                  <a:pos x="846" y="72"/>
                </a:cxn>
                <a:cxn ang="0">
                  <a:pos x="846" y="60"/>
                </a:cxn>
                <a:cxn ang="0">
                  <a:pos x="846" y="60"/>
                </a:cxn>
              </a:cxnLst>
              <a:rect l="0" t="0" r="r" b="b"/>
              <a:pathLst>
                <a:path w="846" h="120">
                  <a:moveTo>
                    <a:pt x="846" y="60"/>
                  </a:moveTo>
                  <a:lnTo>
                    <a:pt x="846" y="60"/>
                  </a:lnTo>
                  <a:lnTo>
                    <a:pt x="846" y="48"/>
                  </a:lnTo>
                  <a:lnTo>
                    <a:pt x="842" y="36"/>
                  </a:lnTo>
                  <a:lnTo>
                    <a:pt x="836" y="26"/>
                  </a:lnTo>
                  <a:lnTo>
                    <a:pt x="830" y="18"/>
                  </a:lnTo>
                  <a:lnTo>
                    <a:pt x="820" y="10"/>
                  </a:lnTo>
                  <a:lnTo>
                    <a:pt x="810" y="6"/>
                  </a:lnTo>
                  <a:lnTo>
                    <a:pt x="800" y="2"/>
                  </a:lnTo>
                  <a:lnTo>
                    <a:pt x="788" y="0"/>
                  </a:lnTo>
                  <a:lnTo>
                    <a:pt x="60" y="0"/>
                  </a:lnTo>
                  <a:lnTo>
                    <a:pt x="60" y="0"/>
                  </a:lnTo>
                  <a:lnTo>
                    <a:pt x="48" y="2"/>
                  </a:lnTo>
                  <a:lnTo>
                    <a:pt x="36" y="6"/>
                  </a:lnTo>
                  <a:lnTo>
                    <a:pt x="26" y="10"/>
                  </a:lnTo>
                  <a:lnTo>
                    <a:pt x="18" y="18"/>
                  </a:lnTo>
                  <a:lnTo>
                    <a:pt x="10" y="26"/>
                  </a:lnTo>
                  <a:lnTo>
                    <a:pt x="6" y="36"/>
                  </a:lnTo>
                  <a:lnTo>
                    <a:pt x="2" y="48"/>
                  </a:lnTo>
                  <a:lnTo>
                    <a:pt x="0" y="60"/>
                  </a:lnTo>
                  <a:lnTo>
                    <a:pt x="0" y="60"/>
                  </a:lnTo>
                  <a:lnTo>
                    <a:pt x="2" y="72"/>
                  </a:lnTo>
                  <a:lnTo>
                    <a:pt x="6" y="84"/>
                  </a:lnTo>
                  <a:lnTo>
                    <a:pt x="10" y="94"/>
                  </a:lnTo>
                  <a:lnTo>
                    <a:pt x="18" y="102"/>
                  </a:lnTo>
                  <a:lnTo>
                    <a:pt x="26" y="110"/>
                  </a:lnTo>
                  <a:lnTo>
                    <a:pt x="36" y="116"/>
                  </a:lnTo>
                  <a:lnTo>
                    <a:pt x="48" y="118"/>
                  </a:lnTo>
                  <a:lnTo>
                    <a:pt x="60" y="120"/>
                  </a:lnTo>
                  <a:lnTo>
                    <a:pt x="788" y="120"/>
                  </a:lnTo>
                  <a:lnTo>
                    <a:pt x="788" y="120"/>
                  </a:lnTo>
                  <a:lnTo>
                    <a:pt x="800" y="118"/>
                  </a:lnTo>
                  <a:lnTo>
                    <a:pt x="810" y="116"/>
                  </a:lnTo>
                  <a:lnTo>
                    <a:pt x="820" y="110"/>
                  </a:lnTo>
                  <a:lnTo>
                    <a:pt x="830" y="102"/>
                  </a:lnTo>
                  <a:lnTo>
                    <a:pt x="836" y="94"/>
                  </a:lnTo>
                  <a:lnTo>
                    <a:pt x="842" y="84"/>
                  </a:lnTo>
                  <a:lnTo>
                    <a:pt x="846" y="72"/>
                  </a:lnTo>
                  <a:lnTo>
                    <a:pt x="846" y="60"/>
                  </a:lnTo>
                  <a:lnTo>
                    <a:pt x="846" y="6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6" name="Freeform 78">
              <a:extLst>
                <a:ext uri="{FF2B5EF4-FFF2-40B4-BE49-F238E27FC236}">
                  <a16:creationId xmlns:a16="http://schemas.microsoft.com/office/drawing/2014/main" id="{5BF85164-F106-4335-87F9-0435101802B2}"/>
                </a:ext>
              </a:extLst>
            </p:cNvPr>
            <p:cNvSpPr>
              <a:spLocks/>
            </p:cNvSpPr>
            <p:nvPr/>
          </p:nvSpPr>
          <p:spPr bwMode="auto">
            <a:xfrm>
              <a:off x="6357938" y="-2185988"/>
              <a:ext cx="815975" cy="187325"/>
            </a:xfrm>
            <a:custGeom>
              <a:avLst/>
              <a:gdLst/>
              <a:ahLst/>
              <a:cxnLst>
                <a:cxn ang="0">
                  <a:pos x="60" y="0"/>
                </a:cxn>
                <a:cxn ang="0">
                  <a:pos x="60" y="0"/>
                </a:cxn>
                <a:cxn ang="0">
                  <a:pos x="48" y="0"/>
                </a:cxn>
                <a:cxn ang="0">
                  <a:pos x="38" y="4"/>
                </a:cxn>
                <a:cxn ang="0">
                  <a:pos x="26" y="10"/>
                </a:cxn>
                <a:cxn ang="0">
                  <a:pos x="18" y="16"/>
                </a:cxn>
                <a:cxn ang="0">
                  <a:pos x="10" y="26"/>
                </a:cxn>
                <a:cxn ang="0">
                  <a:pos x="6" y="36"/>
                </a:cxn>
                <a:cxn ang="0">
                  <a:pos x="2" y="46"/>
                </a:cxn>
                <a:cxn ang="0">
                  <a:pos x="0" y="58"/>
                </a:cxn>
                <a:cxn ang="0">
                  <a:pos x="0" y="58"/>
                </a:cxn>
                <a:cxn ang="0">
                  <a:pos x="2" y="70"/>
                </a:cxn>
                <a:cxn ang="0">
                  <a:pos x="6" y="82"/>
                </a:cxn>
                <a:cxn ang="0">
                  <a:pos x="10" y="92"/>
                </a:cxn>
                <a:cxn ang="0">
                  <a:pos x="18" y="100"/>
                </a:cxn>
                <a:cxn ang="0">
                  <a:pos x="26" y="108"/>
                </a:cxn>
                <a:cxn ang="0">
                  <a:pos x="38" y="114"/>
                </a:cxn>
                <a:cxn ang="0">
                  <a:pos x="48" y="118"/>
                </a:cxn>
                <a:cxn ang="0">
                  <a:pos x="60" y="118"/>
                </a:cxn>
                <a:cxn ang="0">
                  <a:pos x="454" y="118"/>
                </a:cxn>
                <a:cxn ang="0">
                  <a:pos x="454" y="118"/>
                </a:cxn>
                <a:cxn ang="0">
                  <a:pos x="466" y="118"/>
                </a:cxn>
                <a:cxn ang="0">
                  <a:pos x="478" y="114"/>
                </a:cxn>
                <a:cxn ang="0">
                  <a:pos x="488" y="108"/>
                </a:cxn>
                <a:cxn ang="0">
                  <a:pos x="496" y="100"/>
                </a:cxn>
                <a:cxn ang="0">
                  <a:pos x="504" y="92"/>
                </a:cxn>
                <a:cxn ang="0">
                  <a:pos x="510" y="82"/>
                </a:cxn>
                <a:cxn ang="0">
                  <a:pos x="514" y="70"/>
                </a:cxn>
                <a:cxn ang="0">
                  <a:pos x="514" y="58"/>
                </a:cxn>
                <a:cxn ang="0">
                  <a:pos x="514" y="58"/>
                </a:cxn>
                <a:cxn ang="0">
                  <a:pos x="514" y="46"/>
                </a:cxn>
                <a:cxn ang="0">
                  <a:pos x="510" y="36"/>
                </a:cxn>
                <a:cxn ang="0">
                  <a:pos x="504" y="26"/>
                </a:cxn>
                <a:cxn ang="0">
                  <a:pos x="496" y="16"/>
                </a:cxn>
                <a:cxn ang="0">
                  <a:pos x="488" y="10"/>
                </a:cxn>
                <a:cxn ang="0">
                  <a:pos x="478" y="4"/>
                </a:cxn>
                <a:cxn ang="0">
                  <a:pos x="466" y="0"/>
                </a:cxn>
                <a:cxn ang="0">
                  <a:pos x="454" y="0"/>
                </a:cxn>
                <a:cxn ang="0">
                  <a:pos x="60" y="0"/>
                </a:cxn>
              </a:cxnLst>
              <a:rect l="0" t="0" r="r" b="b"/>
              <a:pathLst>
                <a:path w="514" h="118">
                  <a:moveTo>
                    <a:pt x="60" y="0"/>
                  </a:moveTo>
                  <a:lnTo>
                    <a:pt x="60" y="0"/>
                  </a:lnTo>
                  <a:lnTo>
                    <a:pt x="48" y="0"/>
                  </a:lnTo>
                  <a:lnTo>
                    <a:pt x="38" y="4"/>
                  </a:lnTo>
                  <a:lnTo>
                    <a:pt x="26" y="10"/>
                  </a:lnTo>
                  <a:lnTo>
                    <a:pt x="18" y="16"/>
                  </a:lnTo>
                  <a:lnTo>
                    <a:pt x="10" y="26"/>
                  </a:lnTo>
                  <a:lnTo>
                    <a:pt x="6" y="36"/>
                  </a:lnTo>
                  <a:lnTo>
                    <a:pt x="2" y="46"/>
                  </a:lnTo>
                  <a:lnTo>
                    <a:pt x="0" y="58"/>
                  </a:lnTo>
                  <a:lnTo>
                    <a:pt x="0" y="58"/>
                  </a:lnTo>
                  <a:lnTo>
                    <a:pt x="2" y="70"/>
                  </a:lnTo>
                  <a:lnTo>
                    <a:pt x="6" y="82"/>
                  </a:lnTo>
                  <a:lnTo>
                    <a:pt x="10" y="92"/>
                  </a:lnTo>
                  <a:lnTo>
                    <a:pt x="18" y="100"/>
                  </a:lnTo>
                  <a:lnTo>
                    <a:pt x="26" y="108"/>
                  </a:lnTo>
                  <a:lnTo>
                    <a:pt x="38" y="114"/>
                  </a:lnTo>
                  <a:lnTo>
                    <a:pt x="48" y="118"/>
                  </a:lnTo>
                  <a:lnTo>
                    <a:pt x="60" y="118"/>
                  </a:lnTo>
                  <a:lnTo>
                    <a:pt x="454" y="118"/>
                  </a:lnTo>
                  <a:lnTo>
                    <a:pt x="454" y="118"/>
                  </a:lnTo>
                  <a:lnTo>
                    <a:pt x="466" y="118"/>
                  </a:lnTo>
                  <a:lnTo>
                    <a:pt x="478" y="114"/>
                  </a:lnTo>
                  <a:lnTo>
                    <a:pt x="488" y="108"/>
                  </a:lnTo>
                  <a:lnTo>
                    <a:pt x="496" y="100"/>
                  </a:lnTo>
                  <a:lnTo>
                    <a:pt x="504" y="92"/>
                  </a:lnTo>
                  <a:lnTo>
                    <a:pt x="510" y="82"/>
                  </a:lnTo>
                  <a:lnTo>
                    <a:pt x="514" y="70"/>
                  </a:lnTo>
                  <a:lnTo>
                    <a:pt x="514" y="58"/>
                  </a:lnTo>
                  <a:lnTo>
                    <a:pt x="514" y="58"/>
                  </a:lnTo>
                  <a:lnTo>
                    <a:pt x="514" y="46"/>
                  </a:lnTo>
                  <a:lnTo>
                    <a:pt x="510" y="36"/>
                  </a:lnTo>
                  <a:lnTo>
                    <a:pt x="504" y="26"/>
                  </a:lnTo>
                  <a:lnTo>
                    <a:pt x="496" y="16"/>
                  </a:lnTo>
                  <a:lnTo>
                    <a:pt x="488" y="10"/>
                  </a:lnTo>
                  <a:lnTo>
                    <a:pt x="478" y="4"/>
                  </a:lnTo>
                  <a:lnTo>
                    <a:pt x="466" y="0"/>
                  </a:lnTo>
                  <a:lnTo>
                    <a:pt x="454" y="0"/>
                  </a:lnTo>
                  <a:lnTo>
                    <a:pt x="60"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7" name="Freeform 79">
              <a:extLst>
                <a:ext uri="{FF2B5EF4-FFF2-40B4-BE49-F238E27FC236}">
                  <a16:creationId xmlns:a16="http://schemas.microsoft.com/office/drawing/2014/main" id="{90C47E4D-C34B-4E3F-81AE-46F1E1A18C51}"/>
                </a:ext>
              </a:extLst>
            </p:cNvPr>
            <p:cNvSpPr>
              <a:spLocks/>
            </p:cNvSpPr>
            <p:nvPr/>
          </p:nvSpPr>
          <p:spPr bwMode="auto">
            <a:xfrm>
              <a:off x="6072188" y="611187"/>
              <a:ext cx="1387475" cy="190500"/>
            </a:xfrm>
            <a:custGeom>
              <a:avLst/>
              <a:gdLst/>
              <a:ahLst/>
              <a:cxnLst>
                <a:cxn ang="0">
                  <a:pos x="816" y="0"/>
                </a:cxn>
                <a:cxn ang="0">
                  <a:pos x="60" y="0"/>
                </a:cxn>
                <a:cxn ang="0">
                  <a:pos x="60" y="0"/>
                </a:cxn>
                <a:cxn ang="0">
                  <a:pos x="48" y="2"/>
                </a:cxn>
                <a:cxn ang="0">
                  <a:pos x="36" y="4"/>
                </a:cxn>
                <a:cxn ang="0">
                  <a:pos x="26" y="10"/>
                </a:cxn>
                <a:cxn ang="0">
                  <a:pos x="18" y="18"/>
                </a:cxn>
                <a:cxn ang="0">
                  <a:pos x="10" y="26"/>
                </a:cxn>
                <a:cxn ang="0">
                  <a:pos x="4" y="36"/>
                </a:cxn>
                <a:cxn ang="0">
                  <a:pos x="2" y="48"/>
                </a:cxn>
                <a:cxn ang="0">
                  <a:pos x="0" y="60"/>
                </a:cxn>
                <a:cxn ang="0">
                  <a:pos x="0" y="60"/>
                </a:cxn>
                <a:cxn ang="0">
                  <a:pos x="2" y="72"/>
                </a:cxn>
                <a:cxn ang="0">
                  <a:pos x="4" y="84"/>
                </a:cxn>
                <a:cxn ang="0">
                  <a:pos x="10" y="94"/>
                </a:cxn>
                <a:cxn ang="0">
                  <a:pos x="18" y="102"/>
                </a:cxn>
                <a:cxn ang="0">
                  <a:pos x="26" y="110"/>
                </a:cxn>
                <a:cxn ang="0">
                  <a:pos x="36" y="114"/>
                </a:cxn>
                <a:cxn ang="0">
                  <a:pos x="48" y="118"/>
                </a:cxn>
                <a:cxn ang="0">
                  <a:pos x="60" y="120"/>
                </a:cxn>
                <a:cxn ang="0">
                  <a:pos x="816" y="120"/>
                </a:cxn>
                <a:cxn ang="0">
                  <a:pos x="816" y="120"/>
                </a:cxn>
                <a:cxn ang="0">
                  <a:pos x="828" y="118"/>
                </a:cxn>
                <a:cxn ang="0">
                  <a:pos x="838" y="114"/>
                </a:cxn>
                <a:cxn ang="0">
                  <a:pos x="848" y="110"/>
                </a:cxn>
                <a:cxn ang="0">
                  <a:pos x="858" y="102"/>
                </a:cxn>
                <a:cxn ang="0">
                  <a:pos x="864" y="94"/>
                </a:cxn>
                <a:cxn ang="0">
                  <a:pos x="870" y="84"/>
                </a:cxn>
                <a:cxn ang="0">
                  <a:pos x="874" y="72"/>
                </a:cxn>
                <a:cxn ang="0">
                  <a:pos x="874" y="60"/>
                </a:cxn>
                <a:cxn ang="0">
                  <a:pos x="874" y="60"/>
                </a:cxn>
                <a:cxn ang="0">
                  <a:pos x="874" y="48"/>
                </a:cxn>
                <a:cxn ang="0">
                  <a:pos x="870" y="36"/>
                </a:cxn>
                <a:cxn ang="0">
                  <a:pos x="864" y="26"/>
                </a:cxn>
                <a:cxn ang="0">
                  <a:pos x="858" y="18"/>
                </a:cxn>
                <a:cxn ang="0">
                  <a:pos x="848" y="10"/>
                </a:cxn>
                <a:cxn ang="0">
                  <a:pos x="838" y="4"/>
                </a:cxn>
                <a:cxn ang="0">
                  <a:pos x="828" y="2"/>
                </a:cxn>
                <a:cxn ang="0">
                  <a:pos x="816" y="0"/>
                </a:cxn>
                <a:cxn ang="0">
                  <a:pos x="816" y="0"/>
                </a:cxn>
              </a:cxnLst>
              <a:rect l="0" t="0" r="r" b="b"/>
              <a:pathLst>
                <a:path w="874" h="120">
                  <a:moveTo>
                    <a:pt x="816" y="0"/>
                  </a:moveTo>
                  <a:lnTo>
                    <a:pt x="60" y="0"/>
                  </a:lnTo>
                  <a:lnTo>
                    <a:pt x="60" y="0"/>
                  </a:lnTo>
                  <a:lnTo>
                    <a:pt x="48" y="2"/>
                  </a:lnTo>
                  <a:lnTo>
                    <a:pt x="36" y="4"/>
                  </a:lnTo>
                  <a:lnTo>
                    <a:pt x="26" y="10"/>
                  </a:lnTo>
                  <a:lnTo>
                    <a:pt x="18" y="18"/>
                  </a:lnTo>
                  <a:lnTo>
                    <a:pt x="10" y="26"/>
                  </a:lnTo>
                  <a:lnTo>
                    <a:pt x="4" y="36"/>
                  </a:lnTo>
                  <a:lnTo>
                    <a:pt x="2" y="48"/>
                  </a:lnTo>
                  <a:lnTo>
                    <a:pt x="0" y="60"/>
                  </a:lnTo>
                  <a:lnTo>
                    <a:pt x="0" y="60"/>
                  </a:lnTo>
                  <a:lnTo>
                    <a:pt x="2" y="72"/>
                  </a:lnTo>
                  <a:lnTo>
                    <a:pt x="4" y="84"/>
                  </a:lnTo>
                  <a:lnTo>
                    <a:pt x="10" y="94"/>
                  </a:lnTo>
                  <a:lnTo>
                    <a:pt x="18" y="102"/>
                  </a:lnTo>
                  <a:lnTo>
                    <a:pt x="26" y="110"/>
                  </a:lnTo>
                  <a:lnTo>
                    <a:pt x="36" y="114"/>
                  </a:lnTo>
                  <a:lnTo>
                    <a:pt x="48" y="118"/>
                  </a:lnTo>
                  <a:lnTo>
                    <a:pt x="60" y="120"/>
                  </a:lnTo>
                  <a:lnTo>
                    <a:pt x="816" y="120"/>
                  </a:lnTo>
                  <a:lnTo>
                    <a:pt x="816" y="120"/>
                  </a:lnTo>
                  <a:lnTo>
                    <a:pt x="828" y="118"/>
                  </a:lnTo>
                  <a:lnTo>
                    <a:pt x="838" y="114"/>
                  </a:lnTo>
                  <a:lnTo>
                    <a:pt x="848" y="110"/>
                  </a:lnTo>
                  <a:lnTo>
                    <a:pt x="858" y="102"/>
                  </a:lnTo>
                  <a:lnTo>
                    <a:pt x="864" y="94"/>
                  </a:lnTo>
                  <a:lnTo>
                    <a:pt x="870" y="84"/>
                  </a:lnTo>
                  <a:lnTo>
                    <a:pt x="874" y="72"/>
                  </a:lnTo>
                  <a:lnTo>
                    <a:pt x="874" y="60"/>
                  </a:lnTo>
                  <a:lnTo>
                    <a:pt x="874" y="60"/>
                  </a:lnTo>
                  <a:lnTo>
                    <a:pt x="874" y="48"/>
                  </a:lnTo>
                  <a:lnTo>
                    <a:pt x="870" y="36"/>
                  </a:lnTo>
                  <a:lnTo>
                    <a:pt x="864" y="26"/>
                  </a:lnTo>
                  <a:lnTo>
                    <a:pt x="858" y="18"/>
                  </a:lnTo>
                  <a:lnTo>
                    <a:pt x="848" y="10"/>
                  </a:lnTo>
                  <a:lnTo>
                    <a:pt x="838" y="4"/>
                  </a:lnTo>
                  <a:lnTo>
                    <a:pt x="828" y="2"/>
                  </a:lnTo>
                  <a:lnTo>
                    <a:pt x="816" y="0"/>
                  </a:lnTo>
                  <a:lnTo>
                    <a:pt x="81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8" name="Freeform 80">
              <a:extLst>
                <a:ext uri="{FF2B5EF4-FFF2-40B4-BE49-F238E27FC236}">
                  <a16:creationId xmlns:a16="http://schemas.microsoft.com/office/drawing/2014/main" id="{A1C49132-D649-47D0-B34D-100B92D4BA21}"/>
                </a:ext>
              </a:extLst>
            </p:cNvPr>
            <p:cNvSpPr>
              <a:spLocks/>
            </p:cNvSpPr>
            <p:nvPr/>
          </p:nvSpPr>
          <p:spPr bwMode="auto">
            <a:xfrm>
              <a:off x="6072188" y="163512"/>
              <a:ext cx="1387475" cy="190500"/>
            </a:xfrm>
            <a:custGeom>
              <a:avLst/>
              <a:gdLst/>
              <a:ahLst/>
              <a:cxnLst>
                <a:cxn ang="0">
                  <a:pos x="816" y="0"/>
                </a:cxn>
                <a:cxn ang="0">
                  <a:pos x="60" y="0"/>
                </a:cxn>
                <a:cxn ang="0">
                  <a:pos x="60" y="0"/>
                </a:cxn>
                <a:cxn ang="0">
                  <a:pos x="48" y="2"/>
                </a:cxn>
                <a:cxn ang="0">
                  <a:pos x="36" y="6"/>
                </a:cxn>
                <a:cxn ang="0">
                  <a:pos x="26" y="10"/>
                </a:cxn>
                <a:cxn ang="0">
                  <a:pos x="18" y="18"/>
                </a:cxn>
                <a:cxn ang="0">
                  <a:pos x="10" y="26"/>
                </a:cxn>
                <a:cxn ang="0">
                  <a:pos x="4" y="36"/>
                </a:cxn>
                <a:cxn ang="0">
                  <a:pos x="2" y="48"/>
                </a:cxn>
                <a:cxn ang="0">
                  <a:pos x="0" y="60"/>
                </a:cxn>
                <a:cxn ang="0">
                  <a:pos x="0" y="60"/>
                </a:cxn>
                <a:cxn ang="0">
                  <a:pos x="2" y="72"/>
                </a:cxn>
                <a:cxn ang="0">
                  <a:pos x="4" y="84"/>
                </a:cxn>
                <a:cxn ang="0">
                  <a:pos x="10" y="94"/>
                </a:cxn>
                <a:cxn ang="0">
                  <a:pos x="18" y="102"/>
                </a:cxn>
                <a:cxn ang="0">
                  <a:pos x="26" y="110"/>
                </a:cxn>
                <a:cxn ang="0">
                  <a:pos x="36" y="114"/>
                </a:cxn>
                <a:cxn ang="0">
                  <a:pos x="48" y="118"/>
                </a:cxn>
                <a:cxn ang="0">
                  <a:pos x="60" y="120"/>
                </a:cxn>
                <a:cxn ang="0">
                  <a:pos x="816" y="120"/>
                </a:cxn>
                <a:cxn ang="0">
                  <a:pos x="816" y="120"/>
                </a:cxn>
                <a:cxn ang="0">
                  <a:pos x="828" y="118"/>
                </a:cxn>
                <a:cxn ang="0">
                  <a:pos x="838" y="114"/>
                </a:cxn>
                <a:cxn ang="0">
                  <a:pos x="848" y="110"/>
                </a:cxn>
                <a:cxn ang="0">
                  <a:pos x="858" y="102"/>
                </a:cxn>
                <a:cxn ang="0">
                  <a:pos x="864" y="94"/>
                </a:cxn>
                <a:cxn ang="0">
                  <a:pos x="870" y="84"/>
                </a:cxn>
                <a:cxn ang="0">
                  <a:pos x="874" y="72"/>
                </a:cxn>
                <a:cxn ang="0">
                  <a:pos x="874" y="60"/>
                </a:cxn>
                <a:cxn ang="0">
                  <a:pos x="874" y="60"/>
                </a:cxn>
                <a:cxn ang="0">
                  <a:pos x="874" y="48"/>
                </a:cxn>
                <a:cxn ang="0">
                  <a:pos x="870" y="36"/>
                </a:cxn>
                <a:cxn ang="0">
                  <a:pos x="864" y="26"/>
                </a:cxn>
                <a:cxn ang="0">
                  <a:pos x="858" y="18"/>
                </a:cxn>
                <a:cxn ang="0">
                  <a:pos x="848" y="10"/>
                </a:cxn>
                <a:cxn ang="0">
                  <a:pos x="838" y="6"/>
                </a:cxn>
                <a:cxn ang="0">
                  <a:pos x="828" y="2"/>
                </a:cxn>
                <a:cxn ang="0">
                  <a:pos x="816" y="0"/>
                </a:cxn>
                <a:cxn ang="0">
                  <a:pos x="816" y="0"/>
                </a:cxn>
              </a:cxnLst>
              <a:rect l="0" t="0" r="r" b="b"/>
              <a:pathLst>
                <a:path w="874" h="120">
                  <a:moveTo>
                    <a:pt x="816" y="0"/>
                  </a:moveTo>
                  <a:lnTo>
                    <a:pt x="60" y="0"/>
                  </a:lnTo>
                  <a:lnTo>
                    <a:pt x="60" y="0"/>
                  </a:lnTo>
                  <a:lnTo>
                    <a:pt x="48" y="2"/>
                  </a:lnTo>
                  <a:lnTo>
                    <a:pt x="36" y="6"/>
                  </a:lnTo>
                  <a:lnTo>
                    <a:pt x="26" y="10"/>
                  </a:lnTo>
                  <a:lnTo>
                    <a:pt x="18" y="18"/>
                  </a:lnTo>
                  <a:lnTo>
                    <a:pt x="10" y="26"/>
                  </a:lnTo>
                  <a:lnTo>
                    <a:pt x="4" y="36"/>
                  </a:lnTo>
                  <a:lnTo>
                    <a:pt x="2" y="48"/>
                  </a:lnTo>
                  <a:lnTo>
                    <a:pt x="0" y="60"/>
                  </a:lnTo>
                  <a:lnTo>
                    <a:pt x="0" y="60"/>
                  </a:lnTo>
                  <a:lnTo>
                    <a:pt x="2" y="72"/>
                  </a:lnTo>
                  <a:lnTo>
                    <a:pt x="4" y="84"/>
                  </a:lnTo>
                  <a:lnTo>
                    <a:pt x="10" y="94"/>
                  </a:lnTo>
                  <a:lnTo>
                    <a:pt x="18" y="102"/>
                  </a:lnTo>
                  <a:lnTo>
                    <a:pt x="26" y="110"/>
                  </a:lnTo>
                  <a:lnTo>
                    <a:pt x="36" y="114"/>
                  </a:lnTo>
                  <a:lnTo>
                    <a:pt x="48" y="118"/>
                  </a:lnTo>
                  <a:lnTo>
                    <a:pt x="60" y="120"/>
                  </a:lnTo>
                  <a:lnTo>
                    <a:pt x="816" y="120"/>
                  </a:lnTo>
                  <a:lnTo>
                    <a:pt x="816" y="120"/>
                  </a:lnTo>
                  <a:lnTo>
                    <a:pt x="828" y="118"/>
                  </a:lnTo>
                  <a:lnTo>
                    <a:pt x="838" y="114"/>
                  </a:lnTo>
                  <a:lnTo>
                    <a:pt x="848" y="110"/>
                  </a:lnTo>
                  <a:lnTo>
                    <a:pt x="858" y="102"/>
                  </a:lnTo>
                  <a:lnTo>
                    <a:pt x="864" y="94"/>
                  </a:lnTo>
                  <a:lnTo>
                    <a:pt x="870" y="84"/>
                  </a:lnTo>
                  <a:lnTo>
                    <a:pt x="874" y="72"/>
                  </a:lnTo>
                  <a:lnTo>
                    <a:pt x="874" y="60"/>
                  </a:lnTo>
                  <a:lnTo>
                    <a:pt x="874" y="60"/>
                  </a:lnTo>
                  <a:lnTo>
                    <a:pt x="874" y="48"/>
                  </a:lnTo>
                  <a:lnTo>
                    <a:pt x="870" y="36"/>
                  </a:lnTo>
                  <a:lnTo>
                    <a:pt x="864" y="26"/>
                  </a:lnTo>
                  <a:lnTo>
                    <a:pt x="858" y="18"/>
                  </a:lnTo>
                  <a:lnTo>
                    <a:pt x="848" y="10"/>
                  </a:lnTo>
                  <a:lnTo>
                    <a:pt x="838" y="6"/>
                  </a:lnTo>
                  <a:lnTo>
                    <a:pt x="828" y="2"/>
                  </a:lnTo>
                  <a:lnTo>
                    <a:pt x="816" y="0"/>
                  </a:lnTo>
                  <a:lnTo>
                    <a:pt x="81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9" name="Freeform 81">
              <a:extLst>
                <a:ext uri="{FF2B5EF4-FFF2-40B4-BE49-F238E27FC236}">
                  <a16:creationId xmlns:a16="http://schemas.microsoft.com/office/drawing/2014/main" id="{1537796E-7A0B-4A31-AD60-25B956AB083B}"/>
                </a:ext>
              </a:extLst>
            </p:cNvPr>
            <p:cNvSpPr>
              <a:spLocks/>
            </p:cNvSpPr>
            <p:nvPr/>
          </p:nvSpPr>
          <p:spPr bwMode="auto">
            <a:xfrm>
              <a:off x="6072188" y="-284163"/>
              <a:ext cx="1387475" cy="190500"/>
            </a:xfrm>
            <a:custGeom>
              <a:avLst/>
              <a:gdLst/>
              <a:ahLst/>
              <a:cxnLst>
                <a:cxn ang="0">
                  <a:pos x="816" y="0"/>
                </a:cxn>
                <a:cxn ang="0">
                  <a:pos x="60" y="0"/>
                </a:cxn>
                <a:cxn ang="0">
                  <a:pos x="60" y="0"/>
                </a:cxn>
                <a:cxn ang="0">
                  <a:pos x="48" y="2"/>
                </a:cxn>
                <a:cxn ang="0">
                  <a:pos x="36" y="6"/>
                </a:cxn>
                <a:cxn ang="0">
                  <a:pos x="26" y="10"/>
                </a:cxn>
                <a:cxn ang="0">
                  <a:pos x="18" y="18"/>
                </a:cxn>
                <a:cxn ang="0">
                  <a:pos x="10" y="26"/>
                </a:cxn>
                <a:cxn ang="0">
                  <a:pos x="4" y="36"/>
                </a:cxn>
                <a:cxn ang="0">
                  <a:pos x="2" y="48"/>
                </a:cxn>
                <a:cxn ang="0">
                  <a:pos x="0" y="60"/>
                </a:cxn>
                <a:cxn ang="0">
                  <a:pos x="0" y="60"/>
                </a:cxn>
                <a:cxn ang="0">
                  <a:pos x="2" y="72"/>
                </a:cxn>
                <a:cxn ang="0">
                  <a:pos x="4" y="84"/>
                </a:cxn>
                <a:cxn ang="0">
                  <a:pos x="10" y="94"/>
                </a:cxn>
                <a:cxn ang="0">
                  <a:pos x="18" y="102"/>
                </a:cxn>
                <a:cxn ang="0">
                  <a:pos x="26" y="110"/>
                </a:cxn>
                <a:cxn ang="0">
                  <a:pos x="36" y="116"/>
                </a:cxn>
                <a:cxn ang="0">
                  <a:pos x="48" y="118"/>
                </a:cxn>
                <a:cxn ang="0">
                  <a:pos x="60" y="120"/>
                </a:cxn>
                <a:cxn ang="0">
                  <a:pos x="816" y="120"/>
                </a:cxn>
                <a:cxn ang="0">
                  <a:pos x="816" y="120"/>
                </a:cxn>
                <a:cxn ang="0">
                  <a:pos x="828" y="118"/>
                </a:cxn>
                <a:cxn ang="0">
                  <a:pos x="838" y="116"/>
                </a:cxn>
                <a:cxn ang="0">
                  <a:pos x="848" y="110"/>
                </a:cxn>
                <a:cxn ang="0">
                  <a:pos x="858" y="102"/>
                </a:cxn>
                <a:cxn ang="0">
                  <a:pos x="864" y="94"/>
                </a:cxn>
                <a:cxn ang="0">
                  <a:pos x="870" y="84"/>
                </a:cxn>
                <a:cxn ang="0">
                  <a:pos x="874" y="72"/>
                </a:cxn>
                <a:cxn ang="0">
                  <a:pos x="874" y="60"/>
                </a:cxn>
                <a:cxn ang="0">
                  <a:pos x="874" y="60"/>
                </a:cxn>
                <a:cxn ang="0">
                  <a:pos x="874" y="48"/>
                </a:cxn>
                <a:cxn ang="0">
                  <a:pos x="870" y="36"/>
                </a:cxn>
                <a:cxn ang="0">
                  <a:pos x="864" y="26"/>
                </a:cxn>
                <a:cxn ang="0">
                  <a:pos x="858" y="18"/>
                </a:cxn>
                <a:cxn ang="0">
                  <a:pos x="848" y="10"/>
                </a:cxn>
                <a:cxn ang="0">
                  <a:pos x="838" y="6"/>
                </a:cxn>
                <a:cxn ang="0">
                  <a:pos x="828" y="2"/>
                </a:cxn>
                <a:cxn ang="0">
                  <a:pos x="816" y="0"/>
                </a:cxn>
                <a:cxn ang="0">
                  <a:pos x="816" y="0"/>
                </a:cxn>
              </a:cxnLst>
              <a:rect l="0" t="0" r="r" b="b"/>
              <a:pathLst>
                <a:path w="874" h="120">
                  <a:moveTo>
                    <a:pt x="816" y="0"/>
                  </a:moveTo>
                  <a:lnTo>
                    <a:pt x="60" y="0"/>
                  </a:lnTo>
                  <a:lnTo>
                    <a:pt x="60" y="0"/>
                  </a:lnTo>
                  <a:lnTo>
                    <a:pt x="48" y="2"/>
                  </a:lnTo>
                  <a:lnTo>
                    <a:pt x="36" y="6"/>
                  </a:lnTo>
                  <a:lnTo>
                    <a:pt x="26" y="10"/>
                  </a:lnTo>
                  <a:lnTo>
                    <a:pt x="18" y="18"/>
                  </a:lnTo>
                  <a:lnTo>
                    <a:pt x="10" y="26"/>
                  </a:lnTo>
                  <a:lnTo>
                    <a:pt x="4" y="36"/>
                  </a:lnTo>
                  <a:lnTo>
                    <a:pt x="2" y="48"/>
                  </a:lnTo>
                  <a:lnTo>
                    <a:pt x="0" y="60"/>
                  </a:lnTo>
                  <a:lnTo>
                    <a:pt x="0" y="60"/>
                  </a:lnTo>
                  <a:lnTo>
                    <a:pt x="2" y="72"/>
                  </a:lnTo>
                  <a:lnTo>
                    <a:pt x="4" y="84"/>
                  </a:lnTo>
                  <a:lnTo>
                    <a:pt x="10" y="94"/>
                  </a:lnTo>
                  <a:lnTo>
                    <a:pt x="18" y="102"/>
                  </a:lnTo>
                  <a:lnTo>
                    <a:pt x="26" y="110"/>
                  </a:lnTo>
                  <a:lnTo>
                    <a:pt x="36" y="116"/>
                  </a:lnTo>
                  <a:lnTo>
                    <a:pt x="48" y="118"/>
                  </a:lnTo>
                  <a:lnTo>
                    <a:pt x="60" y="120"/>
                  </a:lnTo>
                  <a:lnTo>
                    <a:pt x="816" y="120"/>
                  </a:lnTo>
                  <a:lnTo>
                    <a:pt x="816" y="120"/>
                  </a:lnTo>
                  <a:lnTo>
                    <a:pt x="828" y="118"/>
                  </a:lnTo>
                  <a:lnTo>
                    <a:pt x="838" y="116"/>
                  </a:lnTo>
                  <a:lnTo>
                    <a:pt x="848" y="110"/>
                  </a:lnTo>
                  <a:lnTo>
                    <a:pt x="858" y="102"/>
                  </a:lnTo>
                  <a:lnTo>
                    <a:pt x="864" y="94"/>
                  </a:lnTo>
                  <a:lnTo>
                    <a:pt x="870" y="84"/>
                  </a:lnTo>
                  <a:lnTo>
                    <a:pt x="874" y="72"/>
                  </a:lnTo>
                  <a:lnTo>
                    <a:pt x="874" y="60"/>
                  </a:lnTo>
                  <a:lnTo>
                    <a:pt x="874" y="60"/>
                  </a:lnTo>
                  <a:lnTo>
                    <a:pt x="874" y="48"/>
                  </a:lnTo>
                  <a:lnTo>
                    <a:pt x="870" y="36"/>
                  </a:lnTo>
                  <a:lnTo>
                    <a:pt x="864" y="26"/>
                  </a:lnTo>
                  <a:lnTo>
                    <a:pt x="858" y="18"/>
                  </a:lnTo>
                  <a:lnTo>
                    <a:pt x="848" y="10"/>
                  </a:lnTo>
                  <a:lnTo>
                    <a:pt x="838" y="6"/>
                  </a:lnTo>
                  <a:lnTo>
                    <a:pt x="828" y="2"/>
                  </a:lnTo>
                  <a:lnTo>
                    <a:pt x="816" y="0"/>
                  </a:lnTo>
                  <a:lnTo>
                    <a:pt x="816"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0" name="Freeform 82">
              <a:extLst>
                <a:ext uri="{FF2B5EF4-FFF2-40B4-BE49-F238E27FC236}">
                  <a16:creationId xmlns:a16="http://schemas.microsoft.com/office/drawing/2014/main" id="{BB2AA9F9-D7BE-4985-AAA4-AAC1E2BCC094}"/>
                </a:ext>
              </a:extLst>
            </p:cNvPr>
            <p:cNvSpPr>
              <a:spLocks/>
            </p:cNvSpPr>
            <p:nvPr/>
          </p:nvSpPr>
          <p:spPr bwMode="auto">
            <a:xfrm>
              <a:off x="6094413" y="-731838"/>
              <a:ext cx="1343025" cy="190500"/>
            </a:xfrm>
            <a:custGeom>
              <a:avLst/>
              <a:gdLst/>
              <a:ahLst/>
              <a:cxnLst>
                <a:cxn ang="0">
                  <a:pos x="0" y="60"/>
                </a:cxn>
                <a:cxn ang="0">
                  <a:pos x="0" y="60"/>
                </a:cxn>
                <a:cxn ang="0">
                  <a:pos x="2" y="72"/>
                </a:cxn>
                <a:cxn ang="0">
                  <a:pos x="6" y="84"/>
                </a:cxn>
                <a:cxn ang="0">
                  <a:pos x="10" y="94"/>
                </a:cxn>
                <a:cxn ang="0">
                  <a:pos x="18" y="102"/>
                </a:cxn>
                <a:cxn ang="0">
                  <a:pos x="26" y="110"/>
                </a:cxn>
                <a:cxn ang="0">
                  <a:pos x="36" y="116"/>
                </a:cxn>
                <a:cxn ang="0">
                  <a:pos x="48" y="118"/>
                </a:cxn>
                <a:cxn ang="0">
                  <a:pos x="60" y="120"/>
                </a:cxn>
                <a:cxn ang="0">
                  <a:pos x="788" y="120"/>
                </a:cxn>
                <a:cxn ang="0">
                  <a:pos x="788" y="120"/>
                </a:cxn>
                <a:cxn ang="0">
                  <a:pos x="800" y="118"/>
                </a:cxn>
                <a:cxn ang="0">
                  <a:pos x="810" y="116"/>
                </a:cxn>
                <a:cxn ang="0">
                  <a:pos x="820" y="110"/>
                </a:cxn>
                <a:cxn ang="0">
                  <a:pos x="830" y="102"/>
                </a:cxn>
                <a:cxn ang="0">
                  <a:pos x="836" y="94"/>
                </a:cxn>
                <a:cxn ang="0">
                  <a:pos x="842" y="84"/>
                </a:cxn>
                <a:cxn ang="0">
                  <a:pos x="846" y="72"/>
                </a:cxn>
                <a:cxn ang="0">
                  <a:pos x="846" y="60"/>
                </a:cxn>
                <a:cxn ang="0">
                  <a:pos x="846" y="60"/>
                </a:cxn>
                <a:cxn ang="0">
                  <a:pos x="846" y="48"/>
                </a:cxn>
                <a:cxn ang="0">
                  <a:pos x="842" y="38"/>
                </a:cxn>
                <a:cxn ang="0">
                  <a:pos x="836" y="26"/>
                </a:cxn>
                <a:cxn ang="0">
                  <a:pos x="830" y="18"/>
                </a:cxn>
                <a:cxn ang="0">
                  <a:pos x="820" y="10"/>
                </a:cxn>
                <a:cxn ang="0">
                  <a:pos x="810" y="6"/>
                </a:cxn>
                <a:cxn ang="0">
                  <a:pos x="800" y="2"/>
                </a:cxn>
                <a:cxn ang="0">
                  <a:pos x="788" y="0"/>
                </a:cxn>
                <a:cxn ang="0">
                  <a:pos x="60" y="0"/>
                </a:cxn>
                <a:cxn ang="0">
                  <a:pos x="60" y="0"/>
                </a:cxn>
                <a:cxn ang="0">
                  <a:pos x="48" y="2"/>
                </a:cxn>
                <a:cxn ang="0">
                  <a:pos x="36" y="6"/>
                </a:cxn>
                <a:cxn ang="0">
                  <a:pos x="26" y="10"/>
                </a:cxn>
                <a:cxn ang="0">
                  <a:pos x="18" y="18"/>
                </a:cxn>
                <a:cxn ang="0">
                  <a:pos x="10" y="26"/>
                </a:cxn>
                <a:cxn ang="0">
                  <a:pos x="6" y="38"/>
                </a:cxn>
                <a:cxn ang="0">
                  <a:pos x="2" y="48"/>
                </a:cxn>
                <a:cxn ang="0">
                  <a:pos x="0" y="60"/>
                </a:cxn>
                <a:cxn ang="0">
                  <a:pos x="0" y="60"/>
                </a:cxn>
              </a:cxnLst>
              <a:rect l="0" t="0" r="r" b="b"/>
              <a:pathLst>
                <a:path w="846" h="120">
                  <a:moveTo>
                    <a:pt x="0" y="60"/>
                  </a:moveTo>
                  <a:lnTo>
                    <a:pt x="0" y="60"/>
                  </a:lnTo>
                  <a:lnTo>
                    <a:pt x="2" y="72"/>
                  </a:lnTo>
                  <a:lnTo>
                    <a:pt x="6" y="84"/>
                  </a:lnTo>
                  <a:lnTo>
                    <a:pt x="10" y="94"/>
                  </a:lnTo>
                  <a:lnTo>
                    <a:pt x="18" y="102"/>
                  </a:lnTo>
                  <a:lnTo>
                    <a:pt x="26" y="110"/>
                  </a:lnTo>
                  <a:lnTo>
                    <a:pt x="36" y="116"/>
                  </a:lnTo>
                  <a:lnTo>
                    <a:pt x="48" y="118"/>
                  </a:lnTo>
                  <a:lnTo>
                    <a:pt x="60" y="120"/>
                  </a:lnTo>
                  <a:lnTo>
                    <a:pt x="788" y="120"/>
                  </a:lnTo>
                  <a:lnTo>
                    <a:pt x="788" y="120"/>
                  </a:lnTo>
                  <a:lnTo>
                    <a:pt x="800" y="118"/>
                  </a:lnTo>
                  <a:lnTo>
                    <a:pt x="810" y="116"/>
                  </a:lnTo>
                  <a:lnTo>
                    <a:pt x="820" y="110"/>
                  </a:lnTo>
                  <a:lnTo>
                    <a:pt x="830" y="102"/>
                  </a:lnTo>
                  <a:lnTo>
                    <a:pt x="836" y="94"/>
                  </a:lnTo>
                  <a:lnTo>
                    <a:pt x="842" y="84"/>
                  </a:lnTo>
                  <a:lnTo>
                    <a:pt x="846" y="72"/>
                  </a:lnTo>
                  <a:lnTo>
                    <a:pt x="846" y="60"/>
                  </a:lnTo>
                  <a:lnTo>
                    <a:pt x="846" y="60"/>
                  </a:lnTo>
                  <a:lnTo>
                    <a:pt x="846" y="48"/>
                  </a:lnTo>
                  <a:lnTo>
                    <a:pt x="842" y="38"/>
                  </a:lnTo>
                  <a:lnTo>
                    <a:pt x="836" y="26"/>
                  </a:lnTo>
                  <a:lnTo>
                    <a:pt x="830" y="18"/>
                  </a:lnTo>
                  <a:lnTo>
                    <a:pt x="820" y="10"/>
                  </a:lnTo>
                  <a:lnTo>
                    <a:pt x="810" y="6"/>
                  </a:lnTo>
                  <a:lnTo>
                    <a:pt x="800" y="2"/>
                  </a:lnTo>
                  <a:lnTo>
                    <a:pt x="788" y="0"/>
                  </a:lnTo>
                  <a:lnTo>
                    <a:pt x="60" y="0"/>
                  </a:lnTo>
                  <a:lnTo>
                    <a:pt x="60" y="0"/>
                  </a:lnTo>
                  <a:lnTo>
                    <a:pt x="48" y="2"/>
                  </a:lnTo>
                  <a:lnTo>
                    <a:pt x="36" y="6"/>
                  </a:lnTo>
                  <a:lnTo>
                    <a:pt x="26" y="10"/>
                  </a:lnTo>
                  <a:lnTo>
                    <a:pt x="18" y="18"/>
                  </a:lnTo>
                  <a:lnTo>
                    <a:pt x="10" y="26"/>
                  </a:lnTo>
                  <a:lnTo>
                    <a:pt x="6" y="38"/>
                  </a:lnTo>
                  <a:lnTo>
                    <a:pt x="2" y="48"/>
                  </a:lnTo>
                  <a:lnTo>
                    <a:pt x="0" y="60"/>
                  </a:lnTo>
                  <a:lnTo>
                    <a:pt x="0" y="6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1" name="Freeform 83">
              <a:extLst>
                <a:ext uri="{FF2B5EF4-FFF2-40B4-BE49-F238E27FC236}">
                  <a16:creationId xmlns:a16="http://schemas.microsoft.com/office/drawing/2014/main" id="{E4F67315-8702-43BC-8AA8-2A15BA28A105}"/>
                </a:ext>
              </a:extLst>
            </p:cNvPr>
            <p:cNvSpPr>
              <a:spLocks/>
            </p:cNvSpPr>
            <p:nvPr/>
          </p:nvSpPr>
          <p:spPr bwMode="auto">
            <a:xfrm>
              <a:off x="6357938" y="-1179513"/>
              <a:ext cx="815975" cy="190500"/>
            </a:xfrm>
            <a:custGeom>
              <a:avLst/>
              <a:gdLst/>
              <a:ahLst/>
              <a:cxnLst>
                <a:cxn ang="0">
                  <a:pos x="454" y="120"/>
                </a:cxn>
                <a:cxn ang="0">
                  <a:pos x="454" y="120"/>
                </a:cxn>
                <a:cxn ang="0">
                  <a:pos x="466" y="118"/>
                </a:cxn>
                <a:cxn ang="0">
                  <a:pos x="478" y="114"/>
                </a:cxn>
                <a:cxn ang="0">
                  <a:pos x="488" y="110"/>
                </a:cxn>
                <a:cxn ang="0">
                  <a:pos x="496" y="102"/>
                </a:cxn>
                <a:cxn ang="0">
                  <a:pos x="504" y="94"/>
                </a:cxn>
                <a:cxn ang="0">
                  <a:pos x="510" y="84"/>
                </a:cxn>
                <a:cxn ang="0">
                  <a:pos x="514" y="72"/>
                </a:cxn>
                <a:cxn ang="0">
                  <a:pos x="514" y="60"/>
                </a:cxn>
                <a:cxn ang="0">
                  <a:pos x="514" y="60"/>
                </a:cxn>
                <a:cxn ang="0">
                  <a:pos x="514" y="48"/>
                </a:cxn>
                <a:cxn ang="0">
                  <a:pos x="510" y="36"/>
                </a:cxn>
                <a:cxn ang="0">
                  <a:pos x="504" y="26"/>
                </a:cxn>
                <a:cxn ang="0">
                  <a:pos x="496" y="18"/>
                </a:cxn>
                <a:cxn ang="0">
                  <a:pos x="488" y="10"/>
                </a:cxn>
                <a:cxn ang="0">
                  <a:pos x="478" y="4"/>
                </a:cxn>
                <a:cxn ang="0">
                  <a:pos x="466" y="2"/>
                </a:cxn>
                <a:cxn ang="0">
                  <a:pos x="454" y="0"/>
                </a:cxn>
                <a:cxn ang="0">
                  <a:pos x="60" y="0"/>
                </a:cxn>
                <a:cxn ang="0">
                  <a:pos x="60" y="0"/>
                </a:cxn>
                <a:cxn ang="0">
                  <a:pos x="48" y="2"/>
                </a:cxn>
                <a:cxn ang="0">
                  <a:pos x="38" y="4"/>
                </a:cxn>
                <a:cxn ang="0">
                  <a:pos x="26" y="10"/>
                </a:cxn>
                <a:cxn ang="0">
                  <a:pos x="18" y="18"/>
                </a:cxn>
                <a:cxn ang="0">
                  <a:pos x="10" y="26"/>
                </a:cxn>
                <a:cxn ang="0">
                  <a:pos x="6" y="36"/>
                </a:cxn>
                <a:cxn ang="0">
                  <a:pos x="2" y="48"/>
                </a:cxn>
                <a:cxn ang="0">
                  <a:pos x="0" y="60"/>
                </a:cxn>
                <a:cxn ang="0">
                  <a:pos x="0" y="60"/>
                </a:cxn>
                <a:cxn ang="0">
                  <a:pos x="2" y="72"/>
                </a:cxn>
                <a:cxn ang="0">
                  <a:pos x="6" y="84"/>
                </a:cxn>
                <a:cxn ang="0">
                  <a:pos x="10" y="94"/>
                </a:cxn>
                <a:cxn ang="0">
                  <a:pos x="18" y="102"/>
                </a:cxn>
                <a:cxn ang="0">
                  <a:pos x="26" y="110"/>
                </a:cxn>
                <a:cxn ang="0">
                  <a:pos x="38" y="114"/>
                </a:cxn>
                <a:cxn ang="0">
                  <a:pos x="48" y="118"/>
                </a:cxn>
                <a:cxn ang="0">
                  <a:pos x="60" y="120"/>
                </a:cxn>
                <a:cxn ang="0">
                  <a:pos x="454" y="120"/>
                </a:cxn>
              </a:cxnLst>
              <a:rect l="0" t="0" r="r" b="b"/>
              <a:pathLst>
                <a:path w="514" h="120">
                  <a:moveTo>
                    <a:pt x="454" y="120"/>
                  </a:moveTo>
                  <a:lnTo>
                    <a:pt x="454" y="120"/>
                  </a:lnTo>
                  <a:lnTo>
                    <a:pt x="466" y="118"/>
                  </a:lnTo>
                  <a:lnTo>
                    <a:pt x="478" y="114"/>
                  </a:lnTo>
                  <a:lnTo>
                    <a:pt x="488" y="110"/>
                  </a:lnTo>
                  <a:lnTo>
                    <a:pt x="496" y="102"/>
                  </a:lnTo>
                  <a:lnTo>
                    <a:pt x="504" y="94"/>
                  </a:lnTo>
                  <a:lnTo>
                    <a:pt x="510" y="84"/>
                  </a:lnTo>
                  <a:lnTo>
                    <a:pt x="514" y="72"/>
                  </a:lnTo>
                  <a:lnTo>
                    <a:pt x="514" y="60"/>
                  </a:lnTo>
                  <a:lnTo>
                    <a:pt x="514" y="60"/>
                  </a:lnTo>
                  <a:lnTo>
                    <a:pt x="514" y="48"/>
                  </a:lnTo>
                  <a:lnTo>
                    <a:pt x="510" y="36"/>
                  </a:lnTo>
                  <a:lnTo>
                    <a:pt x="504" y="26"/>
                  </a:lnTo>
                  <a:lnTo>
                    <a:pt x="496" y="18"/>
                  </a:lnTo>
                  <a:lnTo>
                    <a:pt x="488" y="10"/>
                  </a:lnTo>
                  <a:lnTo>
                    <a:pt x="478" y="4"/>
                  </a:lnTo>
                  <a:lnTo>
                    <a:pt x="466" y="2"/>
                  </a:lnTo>
                  <a:lnTo>
                    <a:pt x="454" y="0"/>
                  </a:lnTo>
                  <a:lnTo>
                    <a:pt x="60" y="0"/>
                  </a:lnTo>
                  <a:lnTo>
                    <a:pt x="60" y="0"/>
                  </a:lnTo>
                  <a:lnTo>
                    <a:pt x="48" y="2"/>
                  </a:lnTo>
                  <a:lnTo>
                    <a:pt x="38" y="4"/>
                  </a:lnTo>
                  <a:lnTo>
                    <a:pt x="26" y="10"/>
                  </a:lnTo>
                  <a:lnTo>
                    <a:pt x="18" y="18"/>
                  </a:lnTo>
                  <a:lnTo>
                    <a:pt x="10" y="26"/>
                  </a:lnTo>
                  <a:lnTo>
                    <a:pt x="6" y="36"/>
                  </a:lnTo>
                  <a:lnTo>
                    <a:pt x="2" y="48"/>
                  </a:lnTo>
                  <a:lnTo>
                    <a:pt x="0" y="60"/>
                  </a:lnTo>
                  <a:lnTo>
                    <a:pt x="0" y="60"/>
                  </a:lnTo>
                  <a:lnTo>
                    <a:pt x="2" y="72"/>
                  </a:lnTo>
                  <a:lnTo>
                    <a:pt x="6" y="84"/>
                  </a:lnTo>
                  <a:lnTo>
                    <a:pt x="10" y="94"/>
                  </a:lnTo>
                  <a:lnTo>
                    <a:pt x="18" y="102"/>
                  </a:lnTo>
                  <a:lnTo>
                    <a:pt x="26" y="110"/>
                  </a:lnTo>
                  <a:lnTo>
                    <a:pt x="38" y="114"/>
                  </a:lnTo>
                  <a:lnTo>
                    <a:pt x="48" y="118"/>
                  </a:lnTo>
                  <a:lnTo>
                    <a:pt x="60" y="120"/>
                  </a:lnTo>
                  <a:lnTo>
                    <a:pt x="454" y="12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155" name="矩形: 圆角 154">
            <a:extLst>
              <a:ext uri="{FF2B5EF4-FFF2-40B4-BE49-F238E27FC236}">
                <a16:creationId xmlns:a16="http://schemas.microsoft.com/office/drawing/2014/main" id="{BB0C84A8-7F17-42C5-B8C5-D38CEFA3D48E}"/>
              </a:ext>
            </a:extLst>
          </p:cNvPr>
          <p:cNvSpPr/>
          <p:nvPr/>
        </p:nvSpPr>
        <p:spPr>
          <a:xfrm>
            <a:off x="6339224" y="2385331"/>
            <a:ext cx="5552739" cy="3888469"/>
          </a:xfrm>
          <a:prstGeom prst="roundRect">
            <a:avLst>
              <a:gd name="adj" fmla="val 5248"/>
            </a:avLst>
          </a:prstGeom>
          <a:noFill/>
          <a:ln w="19050">
            <a:solidFill>
              <a:schemeClr val="accent2"/>
            </a:solidFill>
          </a:ln>
        </p:spPr>
        <p:style>
          <a:lnRef idx="1">
            <a:schemeClr val="accent1"/>
          </a:lnRef>
          <a:fillRef idx="0">
            <a:schemeClr val="accent1"/>
          </a:fillRef>
          <a:effectRef idx="0">
            <a:schemeClr val="accent1"/>
          </a:effectRef>
          <a:fontRef idx="minor">
            <a:schemeClr val="tx1"/>
          </a:fontRef>
        </p:style>
        <p:txBody>
          <a:bodyPr wrap="none" rtlCol="0" anchor="ctr"/>
          <a:lstStyle/>
          <a:p>
            <a:pPr algn="ctr"/>
            <a:endParaRPr kumimoji="1" lang="zh-CN" altLang="en-US"/>
          </a:p>
        </p:txBody>
      </p:sp>
      <p:sp>
        <p:nvSpPr>
          <p:cNvPr id="156" name="矩形 155">
            <a:extLst>
              <a:ext uri="{FF2B5EF4-FFF2-40B4-BE49-F238E27FC236}">
                <a16:creationId xmlns:a16="http://schemas.microsoft.com/office/drawing/2014/main" id="{7DA35B7E-5D41-4F9A-917E-025763CAB944}"/>
              </a:ext>
            </a:extLst>
          </p:cNvPr>
          <p:cNvSpPr/>
          <p:nvPr/>
        </p:nvSpPr>
        <p:spPr>
          <a:xfrm>
            <a:off x="7688231" y="2211708"/>
            <a:ext cx="3084866" cy="371662"/>
          </a:xfrm>
          <a:prstGeom prst="rect">
            <a:avLst/>
          </a:prstGeom>
          <a:solidFill>
            <a:schemeClr val="bg1"/>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zh-CN" altLang="en-US" sz="1600" b="1" dirty="0">
                <a:solidFill>
                  <a:srgbClr val="1A1918"/>
                </a:solidFill>
                <a:latin typeface="微软雅黑" panose="020B0503020204020204" pitchFamily="34" charset="-122"/>
                <a:ea typeface="微软雅黑" panose="020B0503020204020204" pitchFamily="34" charset="-122"/>
                <a:sym typeface="Arial" panose="020B0604020202020204" pitchFamily="34" charset="0"/>
              </a:rPr>
              <a:t>获</a:t>
            </a:r>
            <a:r>
              <a:rPr kumimoji="1" lang="en-US" altLang="zh-CN" sz="1600" b="1" dirty="0">
                <a:solidFill>
                  <a:srgbClr val="1A1918"/>
                </a:solidFill>
                <a:latin typeface="微软雅黑" panose="020B0503020204020204" pitchFamily="34" charset="-122"/>
                <a:ea typeface="微软雅黑" panose="020B0503020204020204" pitchFamily="34" charset="-122"/>
                <a:sym typeface="Arial" panose="020B0604020202020204" pitchFamily="34" charset="0"/>
              </a:rPr>
              <a:t>FDA</a:t>
            </a:r>
            <a:r>
              <a:rPr kumimoji="1" lang="zh-CN" altLang="en-US" sz="1600" b="1" dirty="0">
                <a:solidFill>
                  <a:srgbClr val="1A1918"/>
                </a:solidFill>
                <a:latin typeface="微软雅黑" panose="020B0503020204020204" pitchFamily="34" charset="-122"/>
                <a:ea typeface="微软雅黑" panose="020B0503020204020204" pitchFamily="34" charset="-122"/>
                <a:sym typeface="Arial" panose="020B0604020202020204" pitchFamily="34" charset="0"/>
              </a:rPr>
              <a:t>认定及国内发明专利</a:t>
            </a:r>
            <a:r>
              <a:rPr kumimoji="1" lang="en-US" altLang="zh-CN" sz="1600" b="1" baseline="30000" dirty="0">
                <a:solidFill>
                  <a:srgbClr val="1A1918"/>
                </a:solidFill>
                <a:latin typeface="微软雅黑" panose="020B0503020204020204" pitchFamily="34" charset="-122"/>
                <a:ea typeface="微软雅黑" panose="020B0503020204020204" pitchFamily="34" charset="-122"/>
                <a:sym typeface="Arial" panose="020B0604020202020204" pitchFamily="34" charset="0"/>
              </a:rPr>
              <a:t>1,2</a:t>
            </a:r>
            <a:endParaRPr kumimoji="1" lang="zh-CN" altLang="zh-CN" sz="1600" b="1" baseline="30000" dirty="0">
              <a:solidFill>
                <a:srgbClr val="1A1918"/>
              </a:solidFill>
              <a:latin typeface="微软雅黑" panose="020B0503020204020204" pitchFamily="34" charset="-122"/>
              <a:ea typeface="微软雅黑" panose="020B0503020204020204" pitchFamily="34" charset="-122"/>
              <a:sym typeface="Arial" panose="020B0604020202020204" pitchFamily="34" charset="0"/>
            </a:endParaRPr>
          </a:p>
        </p:txBody>
      </p:sp>
      <p:grpSp>
        <p:nvGrpSpPr>
          <p:cNvPr id="172" name="Group 9277">
            <a:extLst>
              <a:ext uri="{FF2B5EF4-FFF2-40B4-BE49-F238E27FC236}">
                <a16:creationId xmlns:a16="http://schemas.microsoft.com/office/drawing/2014/main" id="{5B38EFB2-B5A7-4AC6-B986-5B6A2C924766}"/>
              </a:ext>
            </a:extLst>
          </p:cNvPr>
          <p:cNvGrpSpPr/>
          <p:nvPr/>
        </p:nvGrpSpPr>
        <p:grpSpPr>
          <a:xfrm>
            <a:off x="7335023" y="2214980"/>
            <a:ext cx="396000" cy="396000"/>
            <a:chOff x="5410201" y="1638301"/>
            <a:chExt cx="866775" cy="796925"/>
          </a:xfrm>
          <a:effectLst>
            <a:outerShdw blurRad="50800" dist="38100" dir="2700000" algn="tl" rotWithShape="0">
              <a:prstClr val="black">
                <a:alpha val="40000"/>
              </a:prstClr>
            </a:outerShdw>
          </a:effectLst>
        </p:grpSpPr>
        <p:sp>
          <p:nvSpPr>
            <p:cNvPr id="173" name="Freeform 710">
              <a:extLst>
                <a:ext uri="{FF2B5EF4-FFF2-40B4-BE49-F238E27FC236}">
                  <a16:creationId xmlns:a16="http://schemas.microsoft.com/office/drawing/2014/main" id="{31626967-0F4E-4304-909A-BACB2FBD879D}"/>
                </a:ext>
              </a:extLst>
            </p:cNvPr>
            <p:cNvSpPr>
              <a:spLocks/>
            </p:cNvSpPr>
            <p:nvPr/>
          </p:nvSpPr>
          <p:spPr bwMode="auto">
            <a:xfrm>
              <a:off x="5410201" y="1638301"/>
              <a:ext cx="809625" cy="796925"/>
            </a:xfrm>
            <a:custGeom>
              <a:avLst/>
              <a:gdLst>
                <a:gd name="T0" fmla="*/ 255 w 510"/>
                <a:gd name="T1" fmla="*/ 502 h 502"/>
                <a:gd name="T2" fmla="*/ 205 w 510"/>
                <a:gd name="T3" fmla="*/ 497 h 502"/>
                <a:gd name="T4" fmla="*/ 157 w 510"/>
                <a:gd name="T5" fmla="*/ 482 h 502"/>
                <a:gd name="T6" fmla="*/ 113 w 510"/>
                <a:gd name="T7" fmla="*/ 460 h 502"/>
                <a:gd name="T8" fmla="*/ 76 w 510"/>
                <a:gd name="T9" fmla="*/ 428 h 502"/>
                <a:gd name="T10" fmla="*/ 45 w 510"/>
                <a:gd name="T11" fmla="*/ 391 h 502"/>
                <a:gd name="T12" fmla="*/ 21 w 510"/>
                <a:gd name="T13" fmla="*/ 349 h 502"/>
                <a:gd name="T14" fmla="*/ 6 w 510"/>
                <a:gd name="T15" fmla="*/ 302 h 502"/>
                <a:gd name="T16" fmla="*/ 0 w 510"/>
                <a:gd name="T17" fmla="*/ 251 h 502"/>
                <a:gd name="T18" fmla="*/ 3 w 510"/>
                <a:gd name="T19" fmla="*/ 225 h 502"/>
                <a:gd name="T20" fmla="*/ 12 w 510"/>
                <a:gd name="T21" fmla="*/ 177 h 502"/>
                <a:gd name="T22" fmla="*/ 31 w 510"/>
                <a:gd name="T23" fmla="*/ 131 h 502"/>
                <a:gd name="T24" fmla="*/ 59 w 510"/>
                <a:gd name="T25" fmla="*/ 91 h 502"/>
                <a:gd name="T26" fmla="*/ 94 w 510"/>
                <a:gd name="T27" fmla="*/ 58 h 502"/>
                <a:gd name="T28" fmla="*/ 134 w 510"/>
                <a:gd name="T29" fmla="*/ 30 h 502"/>
                <a:gd name="T30" fmla="*/ 179 w 510"/>
                <a:gd name="T31" fmla="*/ 11 h 502"/>
                <a:gd name="T32" fmla="*/ 230 w 510"/>
                <a:gd name="T33" fmla="*/ 1 h 502"/>
                <a:gd name="T34" fmla="*/ 255 w 510"/>
                <a:gd name="T35" fmla="*/ 0 h 502"/>
                <a:gd name="T36" fmla="*/ 307 w 510"/>
                <a:gd name="T37" fmla="*/ 5 h 502"/>
                <a:gd name="T38" fmla="*/ 355 w 510"/>
                <a:gd name="T39" fmla="*/ 19 h 502"/>
                <a:gd name="T40" fmla="*/ 398 w 510"/>
                <a:gd name="T41" fmla="*/ 43 h 502"/>
                <a:gd name="T42" fmla="*/ 436 w 510"/>
                <a:gd name="T43" fmla="*/ 73 h 502"/>
                <a:gd name="T44" fmla="*/ 467 w 510"/>
                <a:gd name="T45" fmla="*/ 111 h 502"/>
                <a:gd name="T46" fmla="*/ 491 w 510"/>
                <a:gd name="T47" fmla="*/ 153 h 502"/>
                <a:gd name="T48" fmla="*/ 506 w 510"/>
                <a:gd name="T49" fmla="*/ 201 h 502"/>
                <a:gd name="T50" fmla="*/ 510 w 510"/>
                <a:gd name="T51" fmla="*/ 251 h 502"/>
                <a:gd name="T52" fmla="*/ 509 w 510"/>
                <a:gd name="T53" fmla="*/ 277 h 502"/>
                <a:gd name="T54" fmla="*/ 500 w 510"/>
                <a:gd name="T55" fmla="*/ 326 h 502"/>
                <a:gd name="T56" fmla="*/ 480 w 510"/>
                <a:gd name="T57" fmla="*/ 371 h 502"/>
                <a:gd name="T58" fmla="*/ 453 w 510"/>
                <a:gd name="T59" fmla="*/ 410 h 502"/>
                <a:gd name="T60" fmla="*/ 418 w 510"/>
                <a:gd name="T61" fmla="*/ 445 h 502"/>
                <a:gd name="T62" fmla="*/ 377 w 510"/>
                <a:gd name="T63" fmla="*/ 472 h 502"/>
                <a:gd name="T64" fmla="*/ 331 w 510"/>
                <a:gd name="T65" fmla="*/ 491 h 502"/>
                <a:gd name="T66" fmla="*/ 282 w 510"/>
                <a:gd name="T67" fmla="*/ 501 h 502"/>
                <a:gd name="T68" fmla="*/ 255 w 510"/>
                <a:gd name="T69" fmla="*/ 502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0" h="502">
                  <a:moveTo>
                    <a:pt x="255" y="502"/>
                  </a:moveTo>
                  <a:lnTo>
                    <a:pt x="255" y="502"/>
                  </a:lnTo>
                  <a:lnTo>
                    <a:pt x="230" y="501"/>
                  </a:lnTo>
                  <a:lnTo>
                    <a:pt x="205" y="497"/>
                  </a:lnTo>
                  <a:lnTo>
                    <a:pt x="179" y="491"/>
                  </a:lnTo>
                  <a:lnTo>
                    <a:pt x="157" y="482"/>
                  </a:lnTo>
                  <a:lnTo>
                    <a:pt x="134" y="472"/>
                  </a:lnTo>
                  <a:lnTo>
                    <a:pt x="113" y="460"/>
                  </a:lnTo>
                  <a:lnTo>
                    <a:pt x="94" y="445"/>
                  </a:lnTo>
                  <a:lnTo>
                    <a:pt x="76" y="428"/>
                  </a:lnTo>
                  <a:lnTo>
                    <a:pt x="59" y="410"/>
                  </a:lnTo>
                  <a:lnTo>
                    <a:pt x="45" y="391"/>
                  </a:lnTo>
                  <a:lnTo>
                    <a:pt x="31" y="371"/>
                  </a:lnTo>
                  <a:lnTo>
                    <a:pt x="21" y="349"/>
                  </a:lnTo>
                  <a:lnTo>
                    <a:pt x="12" y="326"/>
                  </a:lnTo>
                  <a:lnTo>
                    <a:pt x="6" y="302"/>
                  </a:lnTo>
                  <a:lnTo>
                    <a:pt x="3" y="277"/>
                  </a:lnTo>
                  <a:lnTo>
                    <a:pt x="0" y="251"/>
                  </a:lnTo>
                  <a:lnTo>
                    <a:pt x="0" y="251"/>
                  </a:lnTo>
                  <a:lnTo>
                    <a:pt x="3" y="225"/>
                  </a:lnTo>
                  <a:lnTo>
                    <a:pt x="6" y="201"/>
                  </a:lnTo>
                  <a:lnTo>
                    <a:pt x="12" y="177"/>
                  </a:lnTo>
                  <a:lnTo>
                    <a:pt x="21" y="153"/>
                  </a:lnTo>
                  <a:lnTo>
                    <a:pt x="31" y="131"/>
                  </a:lnTo>
                  <a:lnTo>
                    <a:pt x="45" y="111"/>
                  </a:lnTo>
                  <a:lnTo>
                    <a:pt x="59" y="91"/>
                  </a:lnTo>
                  <a:lnTo>
                    <a:pt x="76" y="73"/>
                  </a:lnTo>
                  <a:lnTo>
                    <a:pt x="94" y="58"/>
                  </a:lnTo>
                  <a:lnTo>
                    <a:pt x="113" y="43"/>
                  </a:lnTo>
                  <a:lnTo>
                    <a:pt x="134" y="30"/>
                  </a:lnTo>
                  <a:lnTo>
                    <a:pt x="157" y="19"/>
                  </a:lnTo>
                  <a:lnTo>
                    <a:pt x="179" y="11"/>
                  </a:lnTo>
                  <a:lnTo>
                    <a:pt x="205" y="5"/>
                  </a:lnTo>
                  <a:lnTo>
                    <a:pt x="230" y="1"/>
                  </a:lnTo>
                  <a:lnTo>
                    <a:pt x="255" y="0"/>
                  </a:lnTo>
                  <a:lnTo>
                    <a:pt x="255" y="0"/>
                  </a:lnTo>
                  <a:lnTo>
                    <a:pt x="282" y="1"/>
                  </a:lnTo>
                  <a:lnTo>
                    <a:pt x="307" y="5"/>
                  </a:lnTo>
                  <a:lnTo>
                    <a:pt x="331" y="11"/>
                  </a:lnTo>
                  <a:lnTo>
                    <a:pt x="355" y="19"/>
                  </a:lnTo>
                  <a:lnTo>
                    <a:pt x="377" y="30"/>
                  </a:lnTo>
                  <a:lnTo>
                    <a:pt x="398" y="43"/>
                  </a:lnTo>
                  <a:lnTo>
                    <a:pt x="418" y="58"/>
                  </a:lnTo>
                  <a:lnTo>
                    <a:pt x="436" y="73"/>
                  </a:lnTo>
                  <a:lnTo>
                    <a:pt x="453" y="91"/>
                  </a:lnTo>
                  <a:lnTo>
                    <a:pt x="467" y="111"/>
                  </a:lnTo>
                  <a:lnTo>
                    <a:pt x="480" y="131"/>
                  </a:lnTo>
                  <a:lnTo>
                    <a:pt x="491" y="153"/>
                  </a:lnTo>
                  <a:lnTo>
                    <a:pt x="500" y="177"/>
                  </a:lnTo>
                  <a:lnTo>
                    <a:pt x="506" y="201"/>
                  </a:lnTo>
                  <a:lnTo>
                    <a:pt x="509" y="225"/>
                  </a:lnTo>
                  <a:lnTo>
                    <a:pt x="510" y="251"/>
                  </a:lnTo>
                  <a:lnTo>
                    <a:pt x="510" y="251"/>
                  </a:lnTo>
                  <a:lnTo>
                    <a:pt x="509" y="277"/>
                  </a:lnTo>
                  <a:lnTo>
                    <a:pt x="506" y="302"/>
                  </a:lnTo>
                  <a:lnTo>
                    <a:pt x="500" y="326"/>
                  </a:lnTo>
                  <a:lnTo>
                    <a:pt x="491" y="349"/>
                  </a:lnTo>
                  <a:lnTo>
                    <a:pt x="480" y="371"/>
                  </a:lnTo>
                  <a:lnTo>
                    <a:pt x="467" y="391"/>
                  </a:lnTo>
                  <a:lnTo>
                    <a:pt x="453" y="410"/>
                  </a:lnTo>
                  <a:lnTo>
                    <a:pt x="436" y="428"/>
                  </a:lnTo>
                  <a:lnTo>
                    <a:pt x="418" y="445"/>
                  </a:lnTo>
                  <a:lnTo>
                    <a:pt x="398" y="460"/>
                  </a:lnTo>
                  <a:lnTo>
                    <a:pt x="377" y="472"/>
                  </a:lnTo>
                  <a:lnTo>
                    <a:pt x="355" y="482"/>
                  </a:lnTo>
                  <a:lnTo>
                    <a:pt x="331" y="491"/>
                  </a:lnTo>
                  <a:lnTo>
                    <a:pt x="307" y="497"/>
                  </a:lnTo>
                  <a:lnTo>
                    <a:pt x="282" y="501"/>
                  </a:lnTo>
                  <a:lnTo>
                    <a:pt x="255" y="502"/>
                  </a:lnTo>
                  <a:lnTo>
                    <a:pt x="255" y="50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5" name="Freeform 712">
              <a:extLst>
                <a:ext uri="{FF2B5EF4-FFF2-40B4-BE49-F238E27FC236}">
                  <a16:creationId xmlns:a16="http://schemas.microsoft.com/office/drawing/2014/main" id="{0BD63D4A-F836-4694-8414-5575E453C6EF}"/>
                </a:ext>
              </a:extLst>
            </p:cNvPr>
            <p:cNvSpPr>
              <a:spLocks/>
            </p:cNvSpPr>
            <p:nvPr/>
          </p:nvSpPr>
          <p:spPr bwMode="auto">
            <a:xfrm>
              <a:off x="5472113" y="2243138"/>
              <a:ext cx="688975" cy="192088"/>
            </a:xfrm>
            <a:custGeom>
              <a:avLst/>
              <a:gdLst>
                <a:gd name="T0" fmla="*/ 0 w 434"/>
                <a:gd name="T1" fmla="*/ 0 h 121"/>
                <a:gd name="T2" fmla="*/ 0 w 434"/>
                <a:gd name="T3" fmla="*/ 0 h 121"/>
                <a:gd name="T4" fmla="*/ 8 w 434"/>
                <a:gd name="T5" fmla="*/ 14 h 121"/>
                <a:gd name="T6" fmla="*/ 18 w 434"/>
                <a:gd name="T7" fmla="*/ 27 h 121"/>
                <a:gd name="T8" fmla="*/ 29 w 434"/>
                <a:gd name="T9" fmla="*/ 39 h 121"/>
                <a:gd name="T10" fmla="*/ 39 w 434"/>
                <a:gd name="T11" fmla="*/ 50 h 121"/>
                <a:gd name="T12" fmla="*/ 51 w 434"/>
                <a:gd name="T13" fmla="*/ 61 h 121"/>
                <a:gd name="T14" fmla="*/ 63 w 434"/>
                <a:gd name="T15" fmla="*/ 70 h 121"/>
                <a:gd name="T16" fmla="*/ 77 w 434"/>
                <a:gd name="T17" fmla="*/ 80 h 121"/>
                <a:gd name="T18" fmla="*/ 90 w 434"/>
                <a:gd name="T19" fmla="*/ 88 h 121"/>
                <a:gd name="T20" fmla="*/ 104 w 434"/>
                <a:gd name="T21" fmla="*/ 95 h 121"/>
                <a:gd name="T22" fmla="*/ 119 w 434"/>
                <a:gd name="T23" fmla="*/ 101 h 121"/>
                <a:gd name="T24" fmla="*/ 134 w 434"/>
                <a:gd name="T25" fmla="*/ 107 h 121"/>
                <a:gd name="T26" fmla="*/ 150 w 434"/>
                <a:gd name="T27" fmla="*/ 112 h 121"/>
                <a:gd name="T28" fmla="*/ 167 w 434"/>
                <a:gd name="T29" fmla="*/ 116 h 121"/>
                <a:gd name="T30" fmla="*/ 183 w 434"/>
                <a:gd name="T31" fmla="*/ 118 h 121"/>
                <a:gd name="T32" fmla="*/ 199 w 434"/>
                <a:gd name="T33" fmla="*/ 121 h 121"/>
                <a:gd name="T34" fmla="*/ 216 w 434"/>
                <a:gd name="T35" fmla="*/ 121 h 121"/>
                <a:gd name="T36" fmla="*/ 216 w 434"/>
                <a:gd name="T37" fmla="*/ 121 h 121"/>
                <a:gd name="T38" fmla="*/ 234 w 434"/>
                <a:gd name="T39" fmla="*/ 121 h 121"/>
                <a:gd name="T40" fmla="*/ 251 w 434"/>
                <a:gd name="T41" fmla="*/ 118 h 121"/>
                <a:gd name="T42" fmla="*/ 267 w 434"/>
                <a:gd name="T43" fmla="*/ 116 h 121"/>
                <a:gd name="T44" fmla="*/ 284 w 434"/>
                <a:gd name="T45" fmla="*/ 112 h 121"/>
                <a:gd name="T46" fmla="*/ 299 w 434"/>
                <a:gd name="T47" fmla="*/ 107 h 121"/>
                <a:gd name="T48" fmla="*/ 314 w 434"/>
                <a:gd name="T49" fmla="*/ 101 h 121"/>
                <a:gd name="T50" fmla="*/ 329 w 434"/>
                <a:gd name="T51" fmla="*/ 95 h 121"/>
                <a:gd name="T52" fmla="*/ 344 w 434"/>
                <a:gd name="T53" fmla="*/ 88 h 121"/>
                <a:gd name="T54" fmla="*/ 357 w 434"/>
                <a:gd name="T55" fmla="*/ 80 h 121"/>
                <a:gd name="T56" fmla="*/ 370 w 434"/>
                <a:gd name="T57" fmla="*/ 70 h 121"/>
                <a:gd name="T58" fmla="*/ 382 w 434"/>
                <a:gd name="T59" fmla="*/ 61 h 121"/>
                <a:gd name="T60" fmla="*/ 394 w 434"/>
                <a:gd name="T61" fmla="*/ 50 h 121"/>
                <a:gd name="T62" fmla="*/ 405 w 434"/>
                <a:gd name="T63" fmla="*/ 39 h 121"/>
                <a:gd name="T64" fmla="*/ 416 w 434"/>
                <a:gd name="T65" fmla="*/ 27 h 121"/>
                <a:gd name="T66" fmla="*/ 426 w 434"/>
                <a:gd name="T67" fmla="*/ 14 h 121"/>
                <a:gd name="T68" fmla="*/ 434 w 434"/>
                <a:gd name="T69" fmla="*/ 0 h 121"/>
                <a:gd name="T70" fmla="*/ 0 w 434"/>
                <a:gd name="T71"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34" h="121">
                  <a:moveTo>
                    <a:pt x="0" y="0"/>
                  </a:moveTo>
                  <a:lnTo>
                    <a:pt x="0" y="0"/>
                  </a:lnTo>
                  <a:lnTo>
                    <a:pt x="8" y="14"/>
                  </a:lnTo>
                  <a:lnTo>
                    <a:pt x="18" y="27"/>
                  </a:lnTo>
                  <a:lnTo>
                    <a:pt x="29" y="39"/>
                  </a:lnTo>
                  <a:lnTo>
                    <a:pt x="39" y="50"/>
                  </a:lnTo>
                  <a:lnTo>
                    <a:pt x="51" y="61"/>
                  </a:lnTo>
                  <a:lnTo>
                    <a:pt x="63" y="70"/>
                  </a:lnTo>
                  <a:lnTo>
                    <a:pt x="77" y="80"/>
                  </a:lnTo>
                  <a:lnTo>
                    <a:pt x="90" y="88"/>
                  </a:lnTo>
                  <a:lnTo>
                    <a:pt x="104" y="95"/>
                  </a:lnTo>
                  <a:lnTo>
                    <a:pt x="119" y="101"/>
                  </a:lnTo>
                  <a:lnTo>
                    <a:pt x="134" y="107"/>
                  </a:lnTo>
                  <a:lnTo>
                    <a:pt x="150" y="112"/>
                  </a:lnTo>
                  <a:lnTo>
                    <a:pt x="167" y="116"/>
                  </a:lnTo>
                  <a:lnTo>
                    <a:pt x="183" y="118"/>
                  </a:lnTo>
                  <a:lnTo>
                    <a:pt x="199" y="121"/>
                  </a:lnTo>
                  <a:lnTo>
                    <a:pt x="216" y="121"/>
                  </a:lnTo>
                  <a:lnTo>
                    <a:pt x="216" y="121"/>
                  </a:lnTo>
                  <a:lnTo>
                    <a:pt x="234" y="121"/>
                  </a:lnTo>
                  <a:lnTo>
                    <a:pt x="251" y="118"/>
                  </a:lnTo>
                  <a:lnTo>
                    <a:pt x="267" y="116"/>
                  </a:lnTo>
                  <a:lnTo>
                    <a:pt x="284" y="112"/>
                  </a:lnTo>
                  <a:lnTo>
                    <a:pt x="299" y="107"/>
                  </a:lnTo>
                  <a:lnTo>
                    <a:pt x="314" y="101"/>
                  </a:lnTo>
                  <a:lnTo>
                    <a:pt x="329" y="95"/>
                  </a:lnTo>
                  <a:lnTo>
                    <a:pt x="344" y="88"/>
                  </a:lnTo>
                  <a:lnTo>
                    <a:pt x="357" y="80"/>
                  </a:lnTo>
                  <a:lnTo>
                    <a:pt x="370" y="70"/>
                  </a:lnTo>
                  <a:lnTo>
                    <a:pt x="382" y="61"/>
                  </a:lnTo>
                  <a:lnTo>
                    <a:pt x="394" y="50"/>
                  </a:lnTo>
                  <a:lnTo>
                    <a:pt x="405" y="39"/>
                  </a:lnTo>
                  <a:lnTo>
                    <a:pt x="416" y="27"/>
                  </a:lnTo>
                  <a:lnTo>
                    <a:pt x="426" y="14"/>
                  </a:lnTo>
                  <a:lnTo>
                    <a:pt x="434" y="0"/>
                  </a:lnTo>
                  <a:lnTo>
                    <a:pt x="0" y="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6" name="Freeform 713">
              <a:extLst>
                <a:ext uri="{FF2B5EF4-FFF2-40B4-BE49-F238E27FC236}">
                  <a16:creationId xmlns:a16="http://schemas.microsoft.com/office/drawing/2014/main" id="{773E0D6E-559F-4EBD-B73A-A348EE92D958}"/>
                </a:ext>
              </a:extLst>
            </p:cNvPr>
            <p:cNvSpPr>
              <a:spLocks noEditPoints="1"/>
            </p:cNvSpPr>
            <p:nvPr/>
          </p:nvSpPr>
          <p:spPr bwMode="auto">
            <a:xfrm>
              <a:off x="5610226" y="1792288"/>
              <a:ext cx="173038" cy="214313"/>
            </a:xfrm>
            <a:custGeom>
              <a:avLst/>
              <a:gdLst>
                <a:gd name="T0" fmla="*/ 109 w 109"/>
                <a:gd name="T1" fmla="*/ 135 h 135"/>
                <a:gd name="T2" fmla="*/ 100 w 109"/>
                <a:gd name="T3" fmla="*/ 134 h 135"/>
                <a:gd name="T4" fmla="*/ 100 w 109"/>
                <a:gd name="T5" fmla="*/ 134 h 135"/>
                <a:gd name="T6" fmla="*/ 91 w 109"/>
                <a:gd name="T7" fmla="*/ 133 h 135"/>
                <a:gd name="T8" fmla="*/ 80 w 109"/>
                <a:gd name="T9" fmla="*/ 130 h 135"/>
                <a:gd name="T10" fmla="*/ 70 w 109"/>
                <a:gd name="T11" fmla="*/ 127 h 135"/>
                <a:gd name="T12" fmla="*/ 61 w 109"/>
                <a:gd name="T13" fmla="*/ 122 h 135"/>
                <a:gd name="T14" fmla="*/ 52 w 109"/>
                <a:gd name="T15" fmla="*/ 116 h 135"/>
                <a:gd name="T16" fmla="*/ 44 w 109"/>
                <a:gd name="T17" fmla="*/ 110 h 135"/>
                <a:gd name="T18" fmla="*/ 37 w 109"/>
                <a:gd name="T19" fmla="*/ 103 h 135"/>
                <a:gd name="T20" fmla="*/ 29 w 109"/>
                <a:gd name="T21" fmla="*/ 95 h 135"/>
                <a:gd name="T22" fmla="*/ 23 w 109"/>
                <a:gd name="T23" fmla="*/ 87 h 135"/>
                <a:gd name="T24" fmla="*/ 17 w 109"/>
                <a:gd name="T25" fmla="*/ 79 h 135"/>
                <a:gd name="T26" fmla="*/ 13 w 109"/>
                <a:gd name="T27" fmla="*/ 69 h 135"/>
                <a:gd name="T28" fmla="*/ 9 w 109"/>
                <a:gd name="T29" fmla="*/ 59 h 135"/>
                <a:gd name="T30" fmla="*/ 5 w 109"/>
                <a:gd name="T31" fmla="*/ 49 h 135"/>
                <a:gd name="T32" fmla="*/ 3 w 109"/>
                <a:gd name="T33" fmla="*/ 38 h 135"/>
                <a:gd name="T34" fmla="*/ 2 w 109"/>
                <a:gd name="T35" fmla="*/ 26 h 135"/>
                <a:gd name="T36" fmla="*/ 0 w 109"/>
                <a:gd name="T37" fmla="*/ 15 h 135"/>
                <a:gd name="T38" fmla="*/ 0 w 109"/>
                <a:gd name="T39" fmla="*/ 15 h 135"/>
                <a:gd name="T40" fmla="*/ 2 w 109"/>
                <a:gd name="T41" fmla="*/ 8 h 135"/>
                <a:gd name="T42" fmla="*/ 2 w 109"/>
                <a:gd name="T43" fmla="*/ 0 h 135"/>
                <a:gd name="T44" fmla="*/ 109 w 109"/>
                <a:gd name="T45" fmla="*/ 0 h 135"/>
                <a:gd name="T46" fmla="*/ 109 w 109"/>
                <a:gd name="T47" fmla="*/ 135 h 135"/>
                <a:gd name="T48" fmla="*/ 16 w 109"/>
                <a:gd name="T49" fmla="*/ 16 h 135"/>
                <a:gd name="T50" fmla="*/ 16 w 109"/>
                <a:gd name="T51" fmla="*/ 16 h 135"/>
                <a:gd name="T52" fmla="*/ 16 w 109"/>
                <a:gd name="T53" fmla="*/ 26 h 135"/>
                <a:gd name="T54" fmla="*/ 17 w 109"/>
                <a:gd name="T55" fmla="*/ 34 h 135"/>
                <a:gd name="T56" fmla="*/ 20 w 109"/>
                <a:gd name="T57" fmla="*/ 44 h 135"/>
                <a:gd name="T58" fmla="*/ 22 w 109"/>
                <a:gd name="T59" fmla="*/ 52 h 135"/>
                <a:gd name="T60" fmla="*/ 29 w 109"/>
                <a:gd name="T61" fmla="*/ 68 h 135"/>
                <a:gd name="T62" fmla="*/ 38 w 109"/>
                <a:gd name="T63" fmla="*/ 82 h 135"/>
                <a:gd name="T64" fmla="*/ 50 w 109"/>
                <a:gd name="T65" fmla="*/ 95 h 135"/>
                <a:gd name="T66" fmla="*/ 56 w 109"/>
                <a:gd name="T67" fmla="*/ 100 h 135"/>
                <a:gd name="T68" fmla="*/ 63 w 109"/>
                <a:gd name="T69" fmla="*/ 105 h 135"/>
                <a:gd name="T70" fmla="*/ 70 w 109"/>
                <a:gd name="T71" fmla="*/ 110 h 135"/>
                <a:gd name="T72" fmla="*/ 78 w 109"/>
                <a:gd name="T73" fmla="*/ 113 h 135"/>
                <a:gd name="T74" fmla="*/ 86 w 109"/>
                <a:gd name="T75" fmla="*/ 116 h 135"/>
                <a:gd name="T76" fmla="*/ 94 w 109"/>
                <a:gd name="T77" fmla="*/ 118 h 135"/>
                <a:gd name="T78" fmla="*/ 94 w 109"/>
                <a:gd name="T79" fmla="*/ 16 h 135"/>
                <a:gd name="T80" fmla="*/ 16 w 109"/>
                <a:gd name="T81"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9" h="135">
                  <a:moveTo>
                    <a:pt x="109" y="135"/>
                  </a:moveTo>
                  <a:lnTo>
                    <a:pt x="100" y="134"/>
                  </a:lnTo>
                  <a:lnTo>
                    <a:pt x="100" y="134"/>
                  </a:lnTo>
                  <a:lnTo>
                    <a:pt x="91" y="133"/>
                  </a:lnTo>
                  <a:lnTo>
                    <a:pt x="80" y="130"/>
                  </a:lnTo>
                  <a:lnTo>
                    <a:pt x="70" y="127"/>
                  </a:lnTo>
                  <a:lnTo>
                    <a:pt x="61" y="122"/>
                  </a:lnTo>
                  <a:lnTo>
                    <a:pt x="52" y="116"/>
                  </a:lnTo>
                  <a:lnTo>
                    <a:pt x="44" y="110"/>
                  </a:lnTo>
                  <a:lnTo>
                    <a:pt x="37" y="103"/>
                  </a:lnTo>
                  <a:lnTo>
                    <a:pt x="29" y="95"/>
                  </a:lnTo>
                  <a:lnTo>
                    <a:pt x="23" y="87"/>
                  </a:lnTo>
                  <a:lnTo>
                    <a:pt x="17" y="79"/>
                  </a:lnTo>
                  <a:lnTo>
                    <a:pt x="13" y="69"/>
                  </a:lnTo>
                  <a:lnTo>
                    <a:pt x="9" y="59"/>
                  </a:lnTo>
                  <a:lnTo>
                    <a:pt x="5" y="49"/>
                  </a:lnTo>
                  <a:lnTo>
                    <a:pt x="3" y="38"/>
                  </a:lnTo>
                  <a:lnTo>
                    <a:pt x="2" y="26"/>
                  </a:lnTo>
                  <a:lnTo>
                    <a:pt x="0" y="15"/>
                  </a:lnTo>
                  <a:lnTo>
                    <a:pt x="0" y="15"/>
                  </a:lnTo>
                  <a:lnTo>
                    <a:pt x="2" y="8"/>
                  </a:lnTo>
                  <a:lnTo>
                    <a:pt x="2" y="0"/>
                  </a:lnTo>
                  <a:lnTo>
                    <a:pt x="109" y="0"/>
                  </a:lnTo>
                  <a:lnTo>
                    <a:pt x="109" y="135"/>
                  </a:lnTo>
                  <a:close/>
                  <a:moveTo>
                    <a:pt x="16" y="16"/>
                  </a:moveTo>
                  <a:lnTo>
                    <a:pt x="16" y="16"/>
                  </a:lnTo>
                  <a:lnTo>
                    <a:pt x="16" y="26"/>
                  </a:lnTo>
                  <a:lnTo>
                    <a:pt x="17" y="34"/>
                  </a:lnTo>
                  <a:lnTo>
                    <a:pt x="20" y="44"/>
                  </a:lnTo>
                  <a:lnTo>
                    <a:pt x="22" y="52"/>
                  </a:lnTo>
                  <a:lnTo>
                    <a:pt x="29" y="68"/>
                  </a:lnTo>
                  <a:lnTo>
                    <a:pt x="38" y="82"/>
                  </a:lnTo>
                  <a:lnTo>
                    <a:pt x="50" y="95"/>
                  </a:lnTo>
                  <a:lnTo>
                    <a:pt x="56" y="100"/>
                  </a:lnTo>
                  <a:lnTo>
                    <a:pt x="63" y="105"/>
                  </a:lnTo>
                  <a:lnTo>
                    <a:pt x="70" y="110"/>
                  </a:lnTo>
                  <a:lnTo>
                    <a:pt x="78" y="113"/>
                  </a:lnTo>
                  <a:lnTo>
                    <a:pt x="86" y="116"/>
                  </a:lnTo>
                  <a:lnTo>
                    <a:pt x="94" y="118"/>
                  </a:lnTo>
                  <a:lnTo>
                    <a:pt x="94" y="16"/>
                  </a:lnTo>
                  <a:lnTo>
                    <a:pt x="16" y="16"/>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7" name="Freeform 714">
              <a:extLst>
                <a:ext uri="{FF2B5EF4-FFF2-40B4-BE49-F238E27FC236}">
                  <a16:creationId xmlns:a16="http://schemas.microsoft.com/office/drawing/2014/main" id="{98582A98-B321-4AF7-9F4A-5FE0F72F6D2C}"/>
                </a:ext>
              </a:extLst>
            </p:cNvPr>
            <p:cNvSpPr>
              <a:spLocks noEditPoints="1"/>
            </p:cNvSpPr>
            <p:nvPr/>
          </p:nvSpPr>
          <p:spPr bwMode="auto">
            <a:xfrm>
              <a:off x="5829301" y="1792288"/>
              <a:ext cx="171450" cy="214313"/>
            </a:xfrm>
            <a:custGeom>
              <a:avLst/>
              <a:gdLst>
                <a:gd name="T0" fmla="*/ 0 w 108"/>
                <a:gd name="T1" fmla="*/ 135 h 135"/>
                <a:gd name="T2" fmla="*/ 0 w 108"/>
                <a:gd name="T3" fmla="*/ 0 h 135"/>
                <a:gd name="T4" fmla="*/ 108 w 108"/>
                <a:gd name="T5" fmla="*/ 0 h 135"/>
                <a:gd name="T6" fmla="*/ 108 w 108"/>
                <a:gd name="T7" fmla="*/ 8 h 135"/>
                <a:gd name="T8" fmla="*/ 108 w 108"/>
                <a:gd name="T9" fmla="*/ 8 h 135"/>
                <a:gd name="T10" fmla="*/ 108 w 108"/>
                <a:gd name="T11" fmla="*/ 15 h 135"/>
                <a:gd name="T12" fmla="*/ 108 w 108"/>
                <a:gd name="T13" fmla="*/ 15 h 135"/>
                <a:gd name="T14" fmla="*/ 108 w 108"/>
                <a:gd name="T15" fmla="*/ 26 h 135"/>
                <a:gd name="T16" fmla="*/ 107 w 108"/>
                <a:gd name="T17" fmla="*/ 38 h 135"/>
                <a:gd name="T18" fmla="*/ 104 w 108"/>
                <a:gd name="T19" fmla="*/ 49 h 135"/>
                <a:gd name="T20" fmla="*/ 101 w 108"/>
                <a:gd name="T21" fmla="*/ 59 h 135"/>
                <a:gd name="T22" fmla="*/ 97 w 108"/>
                <a:gd name="T23" fmla="*/ 69 h 135"/>
                <a:gd name="T24" fmla="*/ 91 w 108"/>
                <a:gd name="T25" fmla="*/ 79 h 135"/>
                <a:gd name="T26" fmla="*/ 86 w 108"/>
                <a:gd name="T27" fmla="*/ 87 h 135"/>
                <a:gd name="T28" fmla="*/ 80 w 108"/>
                <a:gd name="T29" fmla="*/ 95 h 135"/>
                <a:gd name="T30" fmla="*/ 73 w 108"/>
                <a:gd name="T31" fmla="*/ 103 h 135"/>
                <a:gd name="T32" fmla="*/ 65 w 108"/>
                <a:gd name="T33" fmla="*/ 110 h 135"/>
                <a:gd name="T34" fmla="*/ 56 w 108"/>
                <a:gd name="T35" fmla="*/ 116 h 135"/>
                <a:gd name="T36" fmla="*/ 48 w 108"/>
                <a:gd name="T37" fmla="*/ 122 h 135"/>
                <a:gd name="T38" fmla="*/ 39 w 108"/>
                <a:gd name="T39" fmla="*/ 127 h 135"/>
                <a:gd name="T40" fmla="*/ 29 w 108"/>
                <a:gd name="T41" fmla="*/ 130 h 135"/>
                <a:gd name="T42" fmla="*/ 19 w 108"/>
                <a:gd name="T43" fmla="*/ 133 h 135"/>
                <a:gd name="T44" fmla="*/ 8 w 108"/>
                <a:gd name="T45" fmla="*/ 134 h 135"/>
                <a:gd name="T46" fmla="*/ 0 w 108"/>
                <a:gd name="T47" fmla="*/ 135 h 135"/>
                <a:gd name="T48" fmla="*/ 15 w 108"/>
                <a:gd name="T49" fmla="*/ 16 h 135"/>
                <a:gd name="T50" fmla="*/ 15 w 108"/>
                <a:gd name="T51" fmla="*/ 118 h 135"/>
                <a:gd name="T52" fmla="*/ 15 w 108"/>
                <a:gd name="T53" fmla="*/ 118 h 135"/>
                <a:gd name="T54" fmla="*/ 24 w 108"/>
                <a:gd name="T55" fmla="*/ 116 h 135"/>
                <a:gd name="T56" fmla="*/ 31 w 108"/>
                <a:gd name="T57" fmla="*/ 113 h 135"/>
                <a:gd name="T58" fmla="*/ 39 w 108"/>
                <a:gd name="T59" fmla="*/ 110 h 135"/>
                <a:gd name="T60" fmla="*/ 47 w 108"/>
                <a:gd name="T61" fmla="*/ 105 h 135"/>
                <a:gd name="T62" fmla="*/ 53 w 108"/>
                <a:gd name="T63" fmla="*/ 100 h 135"/>
                <a:gd name="T64" fmla="*/ 60 w 108"/>
                <a:gd name="T65" fmla="*/ 95 h 135"/>
                <a:gd name="T66" fmla="*/ 71 w 108"/>
                <a:gd name="T67" fmla="*/ 82 h 135"/>
                <a:gd name="T68" fmla="*/ 80 w 108"/>
                <a:gd name="T69" fmla="*/ 68 h 135"/>
                <a:gd name="T70" fmla="*/ 88 w 108"/>
                <a:gd name="T71" fmla="*/ 52 h 135"/>
                <a:gd name="T72" fmla="*/ 90 w 108"/>
                <a:gd name="T73" fmla="*/ 44 h 135"/>
                <a:gd name="T74" fmla="*/ 92 w 108"/>
                <a:gd name="T75" fmla="*/ 34 h 135"/>
                <a:gd name="T76" fmla="*/ 92 w 108"/>
                <a:gd name="T77" fmla="*/ 26 h 135"/>
                <a:gd name="T78" fmla="*/ 94 w 108"/>
                <a:gd name="T79" fmla="*/ 16 h 135"/>
                <a:gd name="T80" fmla="*/ 15 w 108"/>
                <a:gd name="T81" fmla="*/ 16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8" h="135">
                  <a:moveTo>
                    <a:pt x="0" y="135"/>
                  </a:moveTo>
                  <a:lnTo>
                    <a:pt x="0" y="0"/>
                  </a:lnTo>
                  <a:lnTo>
                    <a:pt x="108" y="0"/>
                  </a:lnTo>
                  <a:lnTo>
                    <a:pt x="108" y="8"/>
                  </a:lnTo>
                  <a:lnTo>
                    <a:pt x="108" y="8"/>
                  </a:lnTo>
                  <a:lnTo>
                    <a:pt x="108" y="15"/>
                  </a:lnTo>
                  <a:lnTo>
                    <a:pt x="108" y="15"/>
                  </a:lnTo>
                  <a:lnTo>
                    <a:pt x="108" y="26"/>
                  </a:lnTo>
                  <a:lnTo>
                    <a:pt x="107" y="38"/>
                  </a:lnTo>
                  <a:lnTo>
                    <a:pt x="104" y="49"/>
                  </a:lnTo>
                  <a:lnTo>
                    <a:pt x="101" y="59"/>
                  </a:lnTo>
                  <a:lnTo>
                    <a:pt x="97" y="69"/>
                  </a:lnTo>
                  <a:lnTo>
                    <a:pt x="91" y="79"/>
                  </a:lnTo>
                  <a:lnTo>
                    <a:pt x="86" y="87"/>
                  </a:lnTo>
                  <a:lnTo>
                    <a:pt x="80" y="95"/>
                  </a:lnTo>
                  <a:lnTo>
                    <a:pt x="73" y="103"/>
                  </a:lnTo>
                  <a:lnTo>
                    <a:pt x="65" y="110"/>
                  </a:lnTo>
                  <a:lnTo>
                    <a:pt x="56" y="116"/>
                  </a:lnTo>
                  <a:lnTo>
                    <a:pt x="48" y="122"/>
                  </a:lnTo>
                  <a:lnTo>
                    <a:pt x="39" y="127"/>
                  </a:lnTo>
                  <a:lnTo>
                    <a:pt x="29" y="130"/>
                  </a:lnTo>
                  <a:lnTo>
                    <a:pt x="19" y="133"/>
                  </a:lnTo>
                  <a:lnTo>
                    <a:pt x="8" y="134"/>
                  </a:lnTo>
                  <a:lnTo>
                    <a:pt x="0" y="135"/>
                  </a:lnTo>
                  <a:close/>
                  <a:moveTo>
                    <a:pt x="15" y="16"/>
                  </a:moveTo>
                  <a:lnTo>
                    <a:pt x="15" y="118"/>
                  </a:lnTo>
                  <a:lnTo>
                    <a:pt x="15" y="118"/>
                  </a:lnTo>
                  <a:lnTo>
                    <a:pt x="24" y="116"/>
                  </a:lnTo>
                  <a:lnTo>
                    <a:pt x="31" y="113"/>
                  </a:lnTo>
                  <a:lnTo>
                    <a:pt x="39" y="110"/>
                  </a:lnTo>
                  <a:lnTo>
                    <a:pt x="47" y="105"/>
                  </a:lnTo>
                  <a:lnTo>
                    <a:pt x="53" y="100"/>
                  </a:lnTo>
                  <a:lnTo>
                    <a:pt x="60" y="95"/>
                  </a:lnTo>
                  <a:lnTo>
                    <a:pt x="71" y="82"/>
                  </a:lnTo>
                  <a:lnTo>
                    <a:pt x="80" y="68"/>
                  </a:lnTo>
                  <a:lnTo>
                    <a:pt x="88" y="52"/>
                  </a:lnTo>
                  <a:lnTo>
                    <a:pt x="90" y="44"/>
                  </a:lnTo>
                  <a:lnTo>
                    <a:pt x="92" y="34"/>
                  </a:lnTo>
                  <a:lnTo>
                    <a:pt x="92" y="26"/>
                  </a:lnTo>
                  <a:lnTo>
                    <a:pt x="94" y="16"/>
                  </a:lnTo>
                  <a:lnTo>
                    <a:pt x="15" y="16"/>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8" name="Rectangle 715">
              <a:extLst>
                <a:ext uri="{FF2B5EF4-FFF2-40B4-BE49-F238E27FC236}">
                  <a16:creationId xmlns:a16="http://schemas.microsoft.com/office/drawing/2014/main" id="{BF2C35A0-F355-456B-9224-3636B2ED8198}"/>
                </a:ext>
              </a:extLst>
            </p:cNvPr>
            <p:cNvSpPr>
              <a:spLocks noChangeArrowheads="1"/>
            </p:cNvSpPr>
            <p:nvPr/>
          </p:nvSpPr>
          <p:spPr bwMode="auto">
            <a:xfrm>
              <a:off x="5749926" y="2144713"/>
              <a:ext cx="111125" cy="36513"/>
            </a:xfrm>
            <a:prstGeom prst="rect">
              <a:avLst/>
            </a:prstGeom>
            <a:solidFill>
              <a:srgbClr val="E5E8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9" name="Freeform 716">
              <a:extLst>
                <a:ext uri="{FF2B5EF4-FFF2-40B4-BE49-F238E27FC236}">
                  <a16:creationId xmlns:a16="http://schemas.microsoft.com/office/drawing/2014/main" id="{AE80EE59-2FB5-49CF-9ED2-A66A0BDDC500}"/>
                </a:ext>
              </a:extLst>
            </p:cNvPr>
            <p:cNvSpPr>
              <a:spLocks/>
            </p:cNvSpPr>
            <p:nvPr/>
          </p:nvSpPr>
          <p:spPr bwMode="auto">
            <a:xfrm>
              <a:off x="5681663" y="1781176"/>
              <a:ext cx="247650" cy="261938"/>
            </a:xfrm>
            <a:custGeom>
              <a:avLst/>
              <a:gdLst>
                <a:gd name="T0" fmla="*/ 6 w 156"/>
                <a:gd name="T1" fmla="*/ 0 h 165"/>
                <a:gd name="T2" fmla="*/ 6 w 156"/>
                <a:gd name="T3" fmla="*/ 0 h 165"/>
                <a:gd name="T4" fmla="*/ 4 w 156"/>
                <a:gd name="T5" fmla="*/ 10 h 165"/>
                <a:gd name="T6" fmla="*/ 2 w 156"/>
                <a:gd name="T7" fmla="*/ 21 h 165"/>
                <a:gd name="T8" fmla="*/ 1 w 156"/>
                <a:gd name="T9" fmla="*/ 30 h 165"/>
                <a:gd name="T10" fmla="*/ 0 w 156"/>
                <a:gd name="T11" fmla="*/ 41 h 165"/>
                <a:gd name="T12" fmla="*/ 0 w 156"/>
                <a:gd name="T13" fmla="*/ 41 h 165"/>
                <a:gd name="T14" fmla="*/ 1 w 156"/>
                <a:gd name="T15" fmla="*/ 51 h 165"/>
                <a:gd name="T16" fmla="*/ 2 w 156"/>
                <a:gd name="T17" fmla="*/ 62 h 165"/>
                <a:gd name="T18" fmla="*/ 6 w 156"/>
                <a:gd name="T19" fmla="*/ 81 h 165"/>
                <a:gd name="T20" fmla="*/ 13 w 156"/>
                <a:gd name="T21" fmla="*/ 99 h 165"/>
                <a:gd name="T22" fmla="*/ 22 w 156"/>
                <a:gd name="T23" fmla="*/ 116 h 165"/>
                <a:gd name="T24" fmla="*/ 34 w 156"/>
                <a:gd name="T25" fmla="*/ 131 h 165"/>
                <a:gd name="T26" fmla="*/ 47 w 156"/>
                <a:gd name="T27" fmla="*/ 145 h 165"/>
                <a:gd name="T28" fmla="*/ 63 w 156"/>
                <a:gd name="T29" fmla="*/ 155 h 165"/>
                <a:gd name="T30" fmla="*/ 78 w 156"/>
                <a:gd name="T31" fmla="*/ 165 h 165"/>
                <a:gd name="T32" fmla="*/ 78 w 156"/>
                <a:gd name="T33" fmla="*/ 165 h 165"/>
                <a:gd name="T34" fmla="*/ 95 w 156"/>
                <a:gd name="T35" fmla="*/ 155 h 165"/>
                <a:gd name="T36" fmla="*/ 111 w 156"/>
                <a:gd name="T37" fmla="*/ 145 h 165"/>
                <a:gd name="T38" fmla="*/ 124 w 156"/>
                <a:gd name="T39" fmla="*/ 131 h 165"/>
                <a:gd name="T40" fmla="*/ 135 w 156"/>
                <a:gd name="T41" fmla="*/ 116 h 165"/>
                <a:gd name="T42" fmla="*/ 144 w 156"/>
                <a:gd name="T43" fmla="*/ 99 h 165"/>
                <a:gd name="T44" fmla="*/ 152 w 156"/>
                <a:gd name="T45" fmla="*/ 81 h 165"/>
                <a:gd name="T46" fmla="*/ 155 w 156"/>
                <a:gd name="T47" fmla="*/ 62 h 165"/>
                <a:gd name="T48" fmla="*/ 156 w 156"/>
                <a:gd name="T49" fmla="*/ 51 h 165"/>
                <a:gd name="T50" fmla="*/ 156 w 156"/>
                <a:gd name="T51" fmla="*/ 41 h 165"/>
                <a:gd name="T52" fmla="*/ 156 w 156"/>
                <a:gd name="T53" fmla="*/ 41 h 165"/>
                <a:gd name="T54" fmla="*/ 156 w 156"/>
                <a:gd name="T55" fmla="*/ 30 h 165"/>
                <a:gd name="T56" fmla="*/ 155 w 156"/>
                <a:gd name="T57" fmla="*/ 21 h 165"/>
                <a:gd name="T58" fmla="*/ 153 w 156"/>
                <a:gd name="T59" fmla="*/ 10 h 165"/>
                <a:gd name="T60" fmla="*/ 150 w 156"/>
                <a:gd name="T61" fmla="*/ 0 h 165"/>
                <a:gd name="T62" fmla="*/ 6 w 156"/>
                <a:gd name="T63" fmla="*/ 0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6" h="165">
                  <a:moveTo>
                    <a:pt x="6" y="0"/>
                  </a:moveTo>
                  <a:lnTo>
                    <a:pt x="6" y="0"/>
                  </a:lnTo>
                  <a:lnTo>
                    <a:pt x="4" y="10"/>
                  </a:lnTo>
                  <a:lnTo>
                    <a:pt x="2" y="21"/>
                  </a:lnTo>
                  <a:lnTo>
                    <a:pt x="1" y="30"/>
                  </a:lnTo>
                  <a:lnTo>
                    <a:pt x="0" y="41"/>
                  </a:lnTo>
                  <a:lnTo>
                    <a:pt x="0" y="41"/>
                  </a:lnTo>
                  <a:lnTo>
                    <a:pt x="1" y="51"/>
                  </a:lnTo>
                  <a:lnTo>
                    <a:pt x="2" y="62"/>
                  </a:lnTo>
                  <a:lnTo>
                    <a:pt x="6" y="81"/>
                  </a:lnTo>
                  <a:lnTo>
                    <a:pt x="13" y="99"/>
                  </a:lnTo>
                  <a:lnTo>
                    <a:pt x="22" y="116"/>
                  </a:lnTo>
                  <a:lnTo>
                    <a:pt x="34" y="131"/>
                  </a:lnTo>
                  <a:lnTo>
                    <a:pt x="47" y="145"/>
                  </a:lnTo>
                  <a:lnTo>
                    <a:pt x="63" y="155"/>
                  </a:lnTo>
                  <a:lnTo>
                    <a:pt x="78" y="165"/>
                  </a:lnTo>
                  <a:lnTo>
                    <a:pt x="78" y="165"/>
                  </a:lnTo>
                  <a:lnTo>
                    <a:pt x="95" y="155"/>
                  </a:lnTo>
                  <a:lnTo>
                    <a:pt x="111" y="145"/>
                  </a:lnTo>
                  <a:lnTo>
                    <a:pt x="124" y="131"/>
                  </a:lnTo>
                  <a:lnTo>
                    <a:pt x="135" y="116"/>
                  </a:lnTo>
                  <a:lnTo>
                    <a:pt x="144" y="99"/>
                  </a:lnTo>
                  <a:lnTo>
                    <a:pt x="152" y="81"/>
                  </a:lnTo>
                  <a:lnTo>
                    <a:pt x="155" y="62"/>
                  </a:lnTo>
                  <a:lnTo>
                    <a:pt x="156" y="51"/>
                  </a:lnTo>
                  <a:lnTo>
                    <a:pt x="156" y="41"/>
                  </a:lnTo>
                  <a:lnTo>
                    <a:pt x="156" y="41"/>
                  </a:lnTo>
                  <a:lnTo>
                    <a:pt x="156" y="30"/>
                  </a:lnTo>
                  <a:lnTo>
                    <a:pt x="155" y="21"/>
                  </a:lnTo>
                  <a:lnTo>
                    <a:pt x="153" y="10"/>
                  </a:lnTo>
                  <a:lnTo>
                    <a:pt x="150" y="0"/>
                  </a:lnTo>
                  <a:lnTo>
                    <a:pt x="6" y="0"/>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0" name="Freeform 717">
              <a:extLst>
                <a:ext uri="{FF2B5EF4-FFF2-40B4-BE49-F238E27FC236}">
                  <a16:creationId xmlns:a16="http://schemas.microsoft.com/office/drawing/2014/main" id="{A5BD5570-9122-48F3-887F-F94D2BD3CCCF}"/>
                </a:ext>
              </a:extLst>
            </p:cNvPr>
            <p:cNvSpPr>
              <a:spLocks/>
            </p:cNvSpPr>
            <p:nvPr/>
          </p:nvSpPr>
          <p:spPr bwMode="auto">
            <a:xfrm>
              <a:off x="5708651" y="1785938"/>
              <a:ext cx="79375" cy="228600"/>
            </a:xfrm>
            <a:custGeom>
              <a:avLst/>
              <a:gdLst>
                <a:gd name="T0" fmla="*/ 6 w 50"/>
                <a:gd name="T1" fmla="*/ 0 h 144"/>
                <a:gd name="T2" fmla="*/ 29 w 50"/>
                <a:gd name="T3" fmla="*/ 0 h 144"/>
                <a:gd name="T4" fmla="*/ 29 w 50"/>
                <a:gd name="T5" fmla="*/ 0 h 144"/>
                <a:gd name="T6" fmla="*/ 25 w 50"/>
                <a:gd name="T7" fmla="*/ 12 h 144"/>
                <a:gd name="T8" fmla="*/ 23 w 50"/>
                <a:gd name="T9" fmla="*/ 25 h 144"/>
                <a:gd name="T10" fmla="*/ 22 w 50"/>
                <a:gd name="T11" fmla="*/ 37 h 144"/>
                <a:gd name="T12" fmla="*/ 22 w 50"/>
                <a:gd name="T13" fmla="*/ 50 h 144"/>
                <a:gd name="T14" fmla="*/ 22 w 50"/>
                <a:gd name="T15" fmla="*/ 50 h 144"/>
                <a:gd name="T16" fmla="*/ 22 w 50"/>
                <a:gd name="T17" fmla="*/ 63 h 144"/>
                <a:gd name="T18" fmla="*/ 23 w 50"/>
                <a:gd name="T19" fmla="*/ 75 h 144"/>
                <a:gd name="T20" fmla="*/ 25 w 50"/>
                <a:gd name="T21" fmla="*/ 87 h 144"/>
                <a:gd name="T22" fmla="*/ 29 w 50"/>
                <a:gd name="T23" fmla="*/ 101 h 144"/>
                <a:gd name="T24" fmla="*/ 34 w 50"/>
                <a:gd name="T25" fmla="*/ 111 h 144"/>
                <a:gd name="T26" fmla="*/ 38 w 50"/>
                <a:gd name="T27" fmla="*/ 124 h 144"/>
                <a:gd name="T28" fmla="*/ 44 w 50"/>
                <a:gd name="T29" fmla="*/ 134 h 144"/>
                <a:gd name="T30" fmla="*/ 50 w 50"/>
                <a:gd name="T31" fmla="*/ 144 h 144"/>
                <a:gd name="T32" fmla="*/ 50 w 50"/>
                <a:gd name="T33" fmla="*/ 144 h 144"/>
                <a:gd name="T34" fmla="*/ 40 w 50"/>
                <a:gd name="T35" fmla="*/ 134 h 144"/>
                <a:gd name="T36" fmla="*/ 30 w 50"/>
                <a:gd name="T37" fmla="*/ 124 h 144"/>
                <a:gd name="T38" fmla="*/ 22 w 50"/>
                <a:gd name="T39" fmla="*/ 111 h 144"/>
                <a:gd name="T40" fmla="*/ 14 w 50"/>
                <a:gd name="T41" fmla="*/ 98 h 144"/>
                <a:gd name="T42" fmla="*/ 8 w 50"/>
                <a:gd name="T43" fmla="*/ 85 h 144"/>
                <a:gd name="T44" fmla="*/ 3 w 50"/>
                <a:gd name="T45" fmla="*/ 71 h 144"/>
                <a:gd name="T46" fmla="*/ 1 w 50"/>
                <a:gd name="T47" fmla="*/ 55 h 144"/>
                <a:gd name="T48" fmla="*/ 0 w 50"/>
                <a:gd name="T49" fmla="*/ 40 h 144"/>
                <a:gd name="T50" fmla="*/ 0 w 50"/>
                <a:gd name="T51" fmla="*/ 40 h 144"/>
                <a:gd name="T52" fmla="*/ 1 w 50"/>
                <a:gd name="T53" fmla="*/ 30 h 144"/>
                <a:gd name="T54" fmla="*/ 2 w 50"/>
                <a:gd name="T55" fmla="*/ 20 h 144"/>
                <a:gd name="T56" fmla="*/ 3 w 50"/>
                <a:gd name="T57" fmla="*/ 9 h 144"/>
                <a:gd name="T58" fmla="*/ 6 w 50"/>
                <a:gd name="T59" fmla="*/ 0 h 144"/>
                <a:gd name="T60" fmla="*/ 6 w 50"/>
                <a:gd name="T6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0" h="144">
                  <a:moveTo>
                    <a:pt x="6" y="0"/>
                  </a:moveTo>
                  <a:lnTo>
                    <a:pt x="29" y="0"/>
                  </a:lnTo>
                  <a:lnTo>
                    <a:pt x="29" y="0"/>
                  </a:lnTo>
                  <a:lnTo>
                    <a:pt x="25" y="12"/>
                  </a:lnTo>
                  <a:lnTo>
                    <a:pt x="23" y="25"/>
                  </a:lnTo>
                  <a:lnTo>
                    <a:pt x="22" y="37"/>
                  </a:lnTo>
                  <a:lnTo>
                    <a:pt x="22" y="50"/>
                  </a:lnTo>
                  <a:lnTo>
                    <a:pt x="22" y="50"/>
                  </a:lnTo>
                  <a:lnTo>
                    <a:pt x="22" y="63"/>
                  </a:lnTo>
                  <a:lnTo>
                    <a:pt x="23" y="75"/>
                  </a:lnTo>
                  <a:lnTo>
                    <a:pt x="25" y="87"/>
                  </a:lnTo>
                  <a:lnTo>
                    <a:pt x="29" y="101"/>
                  </a:lnTo>
                  <a:lnTo>
                    <a:pt x="34" y="111"/>
                  </a:lnTo>
                  <a:lnTo>
                    <a:pt x="38" y="124"/>
                  </a:lnTo>
                  <a:lnTo>
                    <a:pt x="44" y="134"/>
                  </a:lnTo>
                  <a:lnTo>
                    <a:pt x="50" y="144"/>
                  </a:lnTo>
                  <a:lnTo>
                    <a:pt x="50" y="144"/>
                  </a:lnTo>
                  <a:lnTo>
                    <a:pt x="40" y="134"/>
                  </a:lnTo>
                  <a:lnTo>
                    <a:pt x="30" y="124"/>
                  </a:lnTo>
                  <a:lnTo>
                    <a:pt x="22" y="111"/>
                  </a:lnTo>
                  <a:lnTo>
                    <a:pt x="14" y="98"/>
                  </a:lnTo>
                  <a:lnTo>
                    <a:pt x="8" y="85"/>
                  </a:lnTo>
                  <a:lnTo>
                    <a:pt x="3" y="71"/>
                  </a:lnTo>
                  <a:lnTo>
                    <a:pt x="1" y="55"/>
                  </a:lnTo>
                  <a:lnTo>
                    <a:pt x="0" y="40"/>
                  </a:lnTo>
                  <a:lnTo>
                    <a:pt x="0" y="40"/>
                  </a:lnTo>
                  <a:lnTo>
                    <a:pt x="1" y="30"/>
                  </a:lnTo>
                  <a:lnTo>
                    <a:pt x="2" y="20"/>
                  </a:lnTo>
                  <a:lnTo>
                    <a:pt x="3" y="9"/>
                  </a:lnTo>
                  <a:lnTo>
                    <a:pt x="6" y="0"/>
                  </a:lnTo>
                  <a:lnTo>
                    <a:pt x="6" y="0"/>
                  </a:lnTo>
                  <a:close/>
                </a:path>
              </a:pathLst>
            </a:custGeom>
            <a:solidFill>
              <a:srgbClr val="F7F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1" name="Rectangle 718">
              <a:extLst>
                <a:ext uri="{FF2B5EF4-FFF2-40B4-BE49-F238E27FC236}">
                  <a16:creationId xmlns:a16="http://schemas.microsoft.com/office/drawing/2014/main" id="{45D12D05-3A44-49A6-A461-38A5E8EEEC56}"/>
                </a:ext>
              </a:extLst>
            </p:cNvPr>
            <p:cNvSpPr>
              <a:spLocks noChangeArrowheads="1"/>
            </p:cNvSpPr>
            <p:nvPr/>
          </p:nvSpPr>
          <p:spPr bwMode="auto">
            <a:xfrm>
              <a:off x="5788026" y="1997076"/>
              <a:ext cx="36513" cy="171450"/>
            </a:xfrm>
            <a:prstGeom prst="rect">
              <a:avLst/>
            </a:prstGeom>
            <a:solidFill>
              <a:srgbClr val="E5E8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2" name="Rectangle 719">
              <a:extLst>
                <a:ext uri="{FF2B5EF4-FFF2-40B4-BE49-F238E27FC236}">
                  <a16:creationId xmlns:a16="http://schemas.microsoft.com/office/drawing/2014/main" id="{C7E23798-D10E-48EC-8FBB-E92DAAF56D4F}"/>
                </a:ext>
              </a:extLst>
            </p:cNvPr>
            <p:cNvSpPr>
              <a:spLocks noChangeArrowheads="1"/>
            </p:cNvSpPr>
            <p:nvPr/>
          </p:nvSpPr>
          <p:spPr bwMode="auto">
            <a:xfrm>
              <a:off x="5795963" y="2043113"/>
              <a:ext cx="9525" cy="100013"/>
            </a:xfrm>
            <a:prstGeom prst="rect">
              <a:avLst/>
            </a:prstGeom>
            <a:solidFill>
              <a:srgbClr val="F7F8F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3" name="Freeform 720">
              <a:extLst>
                <a:ext uri="{FF2B5EF4-FFF2-40B4-BE49-F238E27FC236}">
                  <a16:creationId xmlns:a16="http://schemas.microsoft.com/office/drawing/2014/main" id="{DE9964E5-64C7-4387-93FA-A5A2191F0275}"/>
                </a:ext>
              </a:extLst>
            </p:cNvPr>
            <p:cNvSpPr>
              <a:spLocks/>
            </p:cNvSpPr>
            <p:nvPr/>
          </p:nvSpPr>
          <p:spPr bwMode="auto">
            <a:xfrm>
              <a:off x="5710238" y="2155826"/>
              <a:ext cx="193675" cy="26988"/>
            </a:xfrm>
            <a:custGeom>
              <a:avLst/>
              <a:gdLst>
                <a:gd name="T0" fmla="*/ 122 w 122"/>
                <a:gd name="T1" fmla="*/ 17 h 17"/>
                <a:gd name="T2" fmla="*/ 122 w 122"/>
                <a:gd name="T3" fmla="*/ 10 h 17"/>
                <a:gd name="T4" fmla="*/ 122 w 122"/>
                <a:gd name="T5" fmla="*/ 10 h 17"/>
                <a:gd name="T6" fmla="*/ 120 w 122"/>
                <a:gd name="T7" fmla="*/ 6 h 17"/>
                <a:gd name="T8" fmla="*/ 119 w 122"/>
                <a:gd name="T9" fmla="*/ 2 h 17"/>
                <a:gd name="T10" fmla="*/ 117 w 122"/>
                <a:gd name="T11" fmla="*/ 1 h 17"/>
                <a:gd name="T12" fmla="*/ 114 w 122"/>
                <a:gd name="T13" fmla="*/ 0 h 17"/>
                <a:gd name="T14" fmla="*/ 7 w 122"/>
                <a:gd name="T15" fmla="*/ 0 h 17"/>
                <a:gd name="T16" fmla="*/ 7 w 122"/>
                <a:gd name="T17" fmla="*/ 0 h 17"/>
                <a:gd name="T18" fmla="*/ 5 w 122"/>
                <a:gd name="T19" fmla="*/ 1 h 17"/>
                <a:gd name="T20" fmla="*/ 2 w 122"/>
                <a:gd name="T21" fmla="*/ 2 h 17"/>
                <a:gd name="T22" fmla="*/ 0 w 122"/>
                <a:gd name="T23" fmla="*/ 6 h 17"/>
                <a:gd name="T24" fmla="*/ 0 w 122"/>
                <a:gd name="T25" fmla="*/ 10 h 17"/>
                <a:gd name="T26" fmla="*/ 0 w 122"/>
                <a:gd name="T27" fmla="*/ 17 h 17"/>
                <a:gd name="T28" fmla="*/ 122 w 122"/>
                <a:gd name="T2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2" h="17">
                  <a:moveTo>
                    <a:pt x="122" y="17"/>
                  </a:moveTo>
                  <a:lnTo>
                    <a:pt x="122" y="10"/>
                  </a:lnTo>
                  <a:lnTo>
                    <a:pt x="122" y="10"/>
                  </a:lnTo>
                  <a:lnTo>
                    <a:pt x="120" y="6"/>
                  </a:lnTo>
                  <a:lnTo>
                    <a:pt x="119" y="2"/>
                  </a:lnTo>
                  <a:lnTo>
                    <a:pt x="117" y="1"/>
                  </a:lnTo>
                  <a:lnTo>
                    <a:pt x="114" y="0"/>
                  </a:lnTo>
                  <a:lnTo>
                    <a:pt x="7" y="0"/>
                  </a:lnTo>
                  <a:lnTo>
                    <a:pt x="7" y="0"/>
                  </a:lnTo>
                  <a:lnTo>
                    <a:pt x="5" y="1"/>
                  </a:lnTo>
                  <a:lnTo>
                    <a:pt x="2" y="2"/>
                  </a:lnTo>
                  <a:lnTo>
                    <a:pt x="0" y="6"/>
                  </a:lnTo>
                  <a:lnTo>
                    <a:pt x="0" y="10"/>
                  </a:lnTo>
                  <a:lnTo>
                    <a:pt x="0" y="17"/>
                  </a:lnTo>
                  <a:lnTo>
                    <a:pt x="122" y="17"/>
                  </a:lnTo>
                  <a:close/>
                </a:path>
              </a:pathLst>
            </a:custGeom>
            <a:solidFill>
              <a:srgbClr val="E5E8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4" name="Freeform 721">
              <a:extLst>
                <a:ext uri="{FF2B5EF4-FFF2-40B4-BE49-F238E27FC236}">
                  <a16:creationId xmlns:a16="http://schemas.microsoft.com/office/drawing/2014/main" id="{04C2014B-BC47-4236-9C90-73DDECEC85C3}"/>
                </a:ext>
              </a:extLst>
            </p:cNvPr>
            <p:cNvSpPr>
              <a:spLocks/>
            </p:cNvSpPr>
            <p:nvPr/>
          </p:nvSpPr>
          <p:spPr bwMode="auto">
            <a:xfrm>
              <a:off x="5718176" y="2159001"/>
              <a:ext cx="47625" cy="26988"/>
            </a:xfrm>
            <a:custGeom>
              <a:avLst/>
              <a:gdLst>
                <a:gd name="T0" fmla="*/ 25 w 30"/>
                <a:gd name="T1" fmla="*/ 17 h 17"/>
                <a:gd name="T2" fmla="*/ 25 w 30"/>
                <a:gd name="T3" fmla="*/ 9 h 17"/>
                <a:gd name="T4" fmla="*/ 25 w 30"/>
                <a:gd name="T5" fmla="*/ 9 h 17"/>
                <a:gd name="T6" fmla="*/ 25 w 30"/>
                <a:gd name="T7" fmla="*/ 6 h 17"/>
                <a:gd name="T8" fmla="*/ 26 w 30"/>
                <a:gd name="T9" fmla="*/ 4 h 17"/>
                <a:gd name="T10" fmla="*/ 28 w 30"/>
                <a:gd name="T11" fmla="*/ 2 h 17"/>
                <a:gd name="T12" fmla="*/ 30 w 30"/>
                <a:gd name="T13" fmla="*/ 0 h 17"/>
                <a:gd name="T14" fmla="*/ 7 w 30"/>
                <a:gd name="T15" fmla="*/ 0 h 17"/>
                <a:gd name="T16" fmla="*/ 7 w 30"/>
                <a:gd name="T17" fmla="*/ 0 h 17"/>
                <a:gd name="T18" fmla="*/ 3 w 30"/>
                <a:gd name="T19" fmla="*/ 2 h 17"/>
                <a:gd name="T20" fmla="*/ 1 w 30"/>
                <a:gd name="T21" fmla="*/ 3 h 17"/>
                <a:gd name="T22" fmla="*/ 0 w 30"/>
                <a:gd name="T23" fmla="*/ 6 h 17"/>
                <a:gd name="T24" fmla="*/ 0 w 30"/>
                <a:gd name="T25" fmla="*/ 10 h 17"/>
                <a:gd name="T26" fmla="*/ 0 w 30"/>
                <a:gd name="T27" fmla="*/ 17 h 17"/>
                <a:gd name="T28" fmla="*/ 25 w 30"/>
                <a:gd name="T29"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17">
                  <a:moveTo>
                    <a:pt x="25" y="17"/>
                  </a:moveTo>
                  <a:lnTo>
                    <a:pt x="25" y="9"/>
                  </a:lnTo>
                  <a:lnTo>
                    <a:pt x="25" y="9"/>
                  </a:lnTo>
                  <a:lnTo>
                    <a:pt x="25" y="6"/>
                  </a:lnTo>
                  <a:lnTo>
                    <a:pt x="26" y="4"/>
                  </a:lnTo>
                  <a:lnTo>
                    <a:pt x="28" y="2"/>
                  </a:lnTo>
                  <a:lnTo>
                    <a:pt x="30" y="0"/>
                  </a:lnTo>
                  <a:lnTo>
                    <a:pt x="7" y="0"/>
                  </a:lnTo>
                  <a:lnTo>
                    <a:pt x="7" y="0"/>
                  </a:lnTo>
                  <a:lnTo>
                    <a:pt x="3" y="2"/>
                  </a:lnTo>
                  <a:lnTo>
                    <a:pt x="1" y="3"/>
                  </a:lnTo>
                  <a:lnTo>
                    <a:pt x="0" y="6"/>
                  </a:lnTo>
                  <a:lnTo>
                    <a:pt x="0" y="10"/>
                  </a:lnTo>
                  <a:lnTo>
                    <a:pt x="0" y="17"/>
                  </a:lnTo>
                  <a:lnTo>
                    <a:pt x="25" y="17"/>
                  </a:lnTo>
                  <a:close/>
                </a:path>
              </a:pathLst>
            </a:custGeom>
            <a:solidFill>
              <a:srgbClr val="F7F8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5" name="Rectangle 722">
              <a:extLst>
                <a:ext uri="{FF2B5EF4-FFF2-40B4-BE49-F238E27FC236}">
                  <a16:creationId xmlns:a16="http://schemas.microsoft.com/office/drawing/2014/main" id="{820557F8-E22C-4D98-9639-FD38A52E5070}"/>
                </a:ext>
              </a:extLst>
            </p:cNvPr>
            <p:cNvSpPr>
              <a:spLocks noChangeArrowheads="1"/>
            </p:cNvSpPr>
            <p:nvPr/>
          </p:nvSpPr>
          <p:spPr bwMode="auto">
            <a:xfrm>
              <a:off x="5684838" y="2181226"/>
              <a:ext cx="242888" cy="95250"/>
            </a:xfrm>
            <a:prstGeom prst="rect">
              <a:avLst/>
            </a:prstGeom>
            <a:solidFill>
              <a:srgbClr val="484F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6" name="Rectangle 723">
              <a:extLst>
                <a:ext uri="{FF2B5EF4-FFF2-40B4-BE49-F238E27FC236}">
                  <a16:creationId xmlns:a16="http://schemas.microsoft.com/office/drawing/2014/main" id="{8EE72BA3-BEC1-4E12-AB85-DA6CD582B57C}"/>
                </a:ext>
              </a:extLst>
            </p:cNvPr>
            <p:cNvSpPr>
              <a:spLocks noChangeArrowheads="1"/>
            </p:cNvSpPr>
            <p:nvPr/>
          </p:nvSpPr>
          <p:spPr bwMode="auto">
            <a:xfrm>
              <a:off x="5713413" y="2209801"/>
              <a:ext cx="185738" cy="38100"/>
            </a:xfrm>
            <a:prstGeom prst="rect">
              <a:avLst/>
            </a:prstGeom>
            <a:solidFill>
              <a:srgbClr val="3036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7" name="Rectangle 724">
              <a:extLst>
                <a:ext uri="{FF2B5EF4-FFF2-40B4-BE49-F238E27FC236}">
                  <a16:creationId xmlns:a16="http://schemas.microsoft.com/office/drawing/2014/main" id="{B2335FCA-FCF7-474E-BC1A-7719AA4D5E11}"/>
                </a:ext>
              </a:extLst>
            </p:cNvPr>
            <p:cNvSpPr>
              <a:spLocks noChangeArrowheads="1"/>
            </p:cNvSpPr>
            <p:nvPr/>
          </p:nvSpPr>
          <p:spPr bwMode="auto">
            <a:xfrm>
              <a:off x="5675313" y="2270126"/>
              <a:ext cx="261938" cy="30163"/>
            </a:xfrm>
            <a:prstGeom prst="rect">
              <a:avLst/>
            </a:prstGeom>
            <a:solidFill>
              <a:srgbClr val="30363D"/>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8" name="Freeform 725">
              <a:extLst>
                <a:ext uri="{FF2B5EF4-FFF2-40B4-BE49-F238E27FC236}">
                  <a16:creationId xmlns:a16="http://schemas.microsoft.com/office/drawing/2014/main" id="{1902778D-F1C1-4D03-AEF6-6078D322AF4F}"/>
                </a:ext>
              </a:extLst>
            </p:cNvPr>
            <p:cNvSpPr>
              <a:spLocks/>
            </p:cNvSpPr>
            <p:nvPr/>
          </p:nvSpPr>
          <p:spPr bwMode="auto">
            <a:xfrm>
              <a:off x="5534026" y="2165351"/>
              <a:ext cx="231775" cy="214313"/>
            </a:xfrm>
            <a:custGeom>
              <a:avLst/>
              <a:gdLst>
                <a:gd name="T0" fmla="*/ 146 w 146"/>
                <a:gd name="T1" fmla="*/ 135 h 135"/>
                <a:gd name="T2" fmla="*/ 42 w 146"/>
                <a:gd name="T3" fmla="*/ 0 h 135"/>
                <a:gd name="T4" fmla="*/ 0 w 146"/>
                <a:gd name="T5" fmla="*/ 0 h 135"/>
                <a:gd name="T6" fmla="*/ 104 w 146"/>
                <a:gd name="T7" fmla="*/ 135 h 135"/>
                <a:gd name="T8" fmla="*/ 146 w 146"/>
                <a:gd name="T9" fmla="*/ 135 h 135"/>
              </a:gdLst>
              <a:ahLst/>
              <a:cxnLst>
                <a:cxn ang="0">
                  <a:pos x="T0" y="T1"/>
                </a:cxn>
                <a:cxn ang="0">
                  <a:pos x="T2" y="T3"/>
                </a:cxn>
                <a:cxn ang="0">
                  <a:pos x="T4" y="T5"/>
                </a:cxn>
                <a:cxn ang="0">
                  <a:pos x="T6" y="T7"/>
                </a:cxn>
                <a:cxn ang="0">
                  <a:pos x="T8" y="T9"/>
                </a:cxn>
              </a:cxnLst>
              <a:rect l="0" t="0" r="r" b="b"/>
              <a:pathLst>
                <a:path w="146" h="135">
                  <a:moveTo>
                    <a:pt x="146" y="135"/>
                  </a:moveTo>
                  <a:lnTo>
                    <a:pt x="42" y="0"/>
                  </a:lnTo>
                  <a:lnTo>
                    <a:pt x="0" y="0"/>
                  </a:lnTo>
                  <a:lnTo>
                    <a:pt x="104" y="135"/>
                  </a:lnTo>
                  <a:lnTo>
                    <a:pt x="146" y="135"/>
                  </a:lnTo>
                  <a:close/>
                </a:path>
              </a:pathLst>
            </a:custGeom>
            <a:solidFill>
              <a:srgbClr val="F4DA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9" name="Freeform 726">
              <a:extLst>
                <a:ext uri="{FF2B5EF4-FFF2-40B4-BE49-F238E27FC236}">
                  <a16:creationId xmlns:a16="http://schemas.microsoft.com/office/drawing/2014/main" id="{7540ECF2-BEEA-48DD-A31C-48685B004524}"/>
                </a:ext>
              </a:extLst>
            </p:cNvPr>
            <p:cNvSpPr>
              <a:spLocks/>
            </p:cNvSpPr>
            <p:nvPr/>
          </p:nvSpPr>
          <p:spPr bwMode="auto">
            <a:xfrm>
              <a:off x="6149976" y="1870076"/>
              <a:ext cx="127000" cy="95250"/>
            </a:xfrm>
            <a:custGeom>
              <a:avLst/>
              <a:gdLst>
                <a:gd name="T0" fmla="*/ 80 w 80"/>
                <a:gd name="T1" fmla="*/ 0 h 60"/>
                <a:gd name="T2" fmla="*/ 80 w 80"/>
                <a:gd name="T3" fmla="*/ 60 h 60"/>
                <a:gd name="T4" fmla="*/ 40 w 80"/>
                <a:gd name="T5" fmla="*/ 60 h 60"/>
                <a:gd name="T6" fmla="*/ 0 w 80"/>
                <a:gd name="T7" fmla="*/ 60 h 60"/>
                <a:gd name="T8" fmla="*/ 80 w 80"/>
                <a:gd name="T9" fmla="*/ 0 h 60"/>
              </a:gdLst>
              <a:ahLst/>
              <a:cxnLst>
                <a:cxn ang="0">
                  <a:pos x="T0" y="T1"/>
                </a:cxn>
                <a:cxn ang="0">
                  <a:pos x="T2" y="T3"/>
                </a:cxn>
                <a:cxn ang="0">
                  <a:pos x="T4" y="T5"/>
                </a:cxn>
                <a:cxn ang="0">
                  <a:pos x="T6" y="T7"/>
                </a:cxn>
                <a:cxn ang="0">
                  <a:pos x="T8" y="T9"/>
                </a:cxn>
              </a:cxnLst>
              <a:rect l="0" t="0" r="r" b="b"/>
              <a:pathLst>
                <a:path w="80" h="60">
                  <a:moveTo>
                    <a:pt x="80" y="0"/>
                  </a:moveTo>
                  <a:lnTo>
                    <a:pt x="80" y="60"/>
                  </a:lnTo>
                  <a:lnTo>
                    <a:pt x="40" y="60"/>
                  </a:lnTo>
                  <a:lnTo>
                    <a:pt x="0" y="60"/>
                  </a:lnTo>
                  <a:lnTo>
                    <a:pt x="80" y="0"/>
                  </a:lnTo>
                  <a:close/>
                </a:path>
              </a:pathLst>
            </a:custGeom>
            <a:solidFill>
              <a:srgbClr val="F3B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0" name="Freeform 727">
              <a:extLst>
                <a:ext uri="{FF2B5EF4-FFF2-40B4-BE49-F238E27FC236}">
                  <a16:creationId xmlns:a16="http://schemas.microsoft.com/office/drawing/2014/main" id="{F3130707-3E22-45D6-8CAE-5B6C08F15B91}"/>
                </a:ext>
              </a:extLst>
            </p:cNvPr>
            <p:cNvSpPr>
              <a:spLocks/>
            </p:cNvSpPr>
            <p:nvPr/>
          </p:nvSpPr>
          <p:spPr bwMode="auto">
            <a:xfrm>
              <a:off x="5699126" y="2078038"/>
              <a:ext cx="261938" cy="303213"/>
            </a:xfrm>
            <a:custGeom>
              <a:avLst/>
              <a:gdLst>
                <a:gd name="T0" fmla="*/ 42 w 165"/>
                <a:gd name="T1" fmla="*/ 191 h 191"/>
                <a:gd name="T2" fmla="*/ 165 w 165"/>
                <a:gd name="T3" fmla="*/ 0 h 191"/>
                <a:gd name="T4" fmla="*/ 123 w 165"/>
                <a:gd name="T5" fmla="*/ 0 h 191"/>
                <a:gd name="T6" fmla="*/ 0 w 165"/>
                <a:gd name="T7" fmla="*/ 191 h 191"/>
                <a:gd name="T8" fmla="*/ 42 w 165"/>
                <a:gd name="T9" fmla="*/ 191 h 191"/>
              </a:gdLst>
              <a:ahLst/>
              <a:cxnLst>
                <a:cxn ang="0">
                  <a:pos x="T0" y="T1"/>
                </a:cxn>
                <a:cxn ang="0">
                  <a:pos x="T2" y="T3"/>
                </a:cxn>
                <a:cxn ang="0">
                  <a:pos x="T4" y="T5"/>
                </a:cxn>
                <a:cxn ang="0">
                  <a:pos x="T6" y="T7"/>
                </a:cxn>
                <a:cxn ang="0">
                  <a:pos x="T8" y="T9"/>
                </a:cxn>
              </a:cxnLst>
              <a:rect l="0" t="0" r="r" b="b"/>
              <a:pathLst>
                <a:path w="165" h="191">
                  <a:moveTo>
                    <a:pt x="42" y="191"/>
                  </a:moveTo>
                  <a:lnTo>
                    <a:pt x="165" y="0"/>
                  </a:lnTo>
                  <a:lnTo>
                    <a:pt x="123" y="0"/>
                  </a:lnTo>
                  <a:lnTo>
                    <a:pt x="0" y="191"/>
                  </a:lnTo>
                  <a:lnTo>
                    <a:pt x="42" y="191"/>
                  </a:lnTo>
                  <a:close/>
                </a:path>
              </a:pathLst>
            </a:custGeom>
            <a:solidFill>
              <a:srgbClr val="F3B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1" name="Freeform 728">
              <a:extLst>
                <a:ext uri="{FF2B5EF4-FFF2-40B4-BE49-F238E27FC236}">
                  <a16:creationId xmlns:a16="http://schemas.microsoft.com/office/drawing/2014/main" id="{5E4EE661-079C-46B3-8CF0-10F111A040EC}"/>
                </a:ext>
              </a:extLst>
            </p:cNvPr>
            <p:cNvSpPr>
              <a:spLocks/>
            </p:cNvSpPr>
            <p:nvPr/>
          </p:nvSpPr>
          <p:spPr bwMode="auto">
            <a:xfrm>
              <a:off x="5891213" y="2078038"/>
              <a:ext cx="203200" cy="187325"/>
            </a:xfrm>
            <a:custGeom>
              <a:avLst/>
              <a:gdLst>
                <a:gd name="T0" fmla="*/ 128 w 128"/>
                <a:gd name="T1" fmla="*/ 118 h 118"/>
                <a:gd name="T2" fmla="*/ 43 w 128"/>
                <a:gd name="T3" fmla="*/ 0 h 118"/>
                <a:gd name="T4" fmla="*/ 0 w 128"/>
                <a:gd name="T5" fmla="*/ 0 h 118"/>
                <a:gd name="T6" fmla="*/ 86 w 128"/>
                <a:gd name="T7" fmla="*/ 118 h 118"/>
                <a:gd name="T8" fmla="*/ 128 w 128"/>
                <a:gd name="T9" fmla="*/ 118 h 118"/>
              </a:gdLst>
              <a:ahLst/>
              <a:cxnLst>
                <a:cxn ang="0">
                  <a:pos x="T0" y="T1"/>
                </a:cxn>
                <a:cxn ang="0">
                  <a:pos x="T2" y="T3"/>
                </a:cxn>
                <a:cxn ang="0">
                  <a:pos x="T4" y="T5"/>
                </a:cxn>
                <a:cxn ang="0">
                  <a:pos x="T6" y="T7"/>
                </a:cxn>
                <a:cxn ang="0">
                  <a:pos x="T8" y="T9"/>
                </a:cxn>
              </a:cxnLst>
              <a:rect l="0" t="0" r="r" b="b"/>
              <a:pathLst>
                <a:path w="128" h="118">
                  <a:moveTo>
                    <a:pt x="128" y="118"/>
                  </a:moveTo>
                  <a:lnTo>
                    <a:pt x="43" y="0"/>
                  </a:lnTo>
                  <a:lnTo>
                    <a:pt x="0" y="0"/>
                  </a:lnTo>
                  <a:lnTo>
                    <a:pt x="86" y="118"/>
                  </a:lnTo>
                  <a:lnTo>
                    <a:pt x="128" y="118"/>
                  </a:lnTo>
                  <a:close/>
                </a:path>
              </a:pathLst>
            </a:custGeom>
            <a:solidFill>
              <a:srgbClr val="F4DA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2" name="Freeform 729">
              <a:extLst>
                <a:ext uri="{FF2B5EF4-FFF2-40B4-BE49-F238E27FC236}">
                  <a16:creationId xmlns:a16="http://schemas.microsoft.com/office/drawing/2014/main" id="{9F86F5DC-896C-4AEC-A2BB-5DFC127BDADF}"/>
                </a:ext>
              </a:extLst>
            </p:cNvPr>
            <p:cNvSpPr>
              <a:spLocks/>
            </p:cNvSpPr>
            <p:nvPr/>
          </p:nvSpPr>
          <p:spPr bwMode="auto">
            <a:xfrm>
              <a:off x="6026151" y="1938338"/>
              <a:ext cx="246063" cy="327025"/>
            </a:xfrm>
            <a:custGeom>
              <a:avLst/>
              <a:gdLst>
                <a:gd name="T0" fmla="*/ 42 w 155"/>
                <a:gd name="T1" fmla="*/ 206 h 206"/>
                <a:gd name="T2" fmla="*/ 155 w 155"/>
                <a:gd name="T3" fmla="*/ 0 h 206"/>
                <a:gd name="T4" fmla="*/ 113 w 155"/>
                <a:gd name="T5" fmla="*/ 0 h 206"/>
                <a:gd name="T6" fmla="*/ 0 w 155"/>
                <a:gd name="T7" fmla="*/ 206 h 206"/>
                <a:gd name="T8" fmla="*/ 42 w 155"/>
                <a:gd name="T9" fmla="*/ 206 h 206"/>
              </a:gdLst>
              <a:ahLst/>
              <a:cxnLst>
                <a:cxn ang="0">
                  <a:pos x="T0" y="T1"/>
                </a:cxn>
                <a:cxn ang="0">
                  <a:pos x="T2" y="T3"/>
                </a:cxn>
                <a:cxn ang="0">
                  <a:pos x="T4" y="T5"/>
                </a:cxn>
                <a:cxn ang="0">
                  <a:pos x="T6" y="T7"/>
                </a:cxn>
                <a:cxn ang="0">
                  <a:pos x="T8" y="T9"/>
                </a:cxn>
              </a:cxnLst>
              <a:rect l="0" t="0" r="r" b="b"/>
              <a:pathLst>
                <a:path w="155" h="206">
                  <a:moveTo>
                    <a:pt x="42" y="206"/>
                  </a:moveTo>
                  <a:lnTo>
                    <a:pt x="155" y="0"/>
                  </a:lnTo>
                  <a:lnTo>
                    <a:pt x="113" y="0"/>
                  </a:lnTo>
                  <a:lnTo>
                    <a:pt x="0" y="206"/>
                  </a:lnTo>
                  <a:lnTo>
                    <a:pt x="42" y="206"/>
                  </a:lnTo>
                  <a:close/>
                </a:path>
              </a:pathLst>
            </a:custGeom>
            <a:solidFill>
              <a:srgbClr val="F3B84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pic>
        <p:nvPicPr>
          <p:cNvPr id="121" name="图片 120">
            <a:extLst>
              <a:ext uri="{FF2B5EF4-FFF2-40B4-BE49-F238E27FC236}">
                <a16:creationId xmlns:a16="http://schemas.microsoft.com/office/drawing/2014/main" id="{16F63520-47FC-405D-9568-E28E7F3186CE}"/>
              </a:ext>
            </a:extLst>
          </p:cNvPr>
          <p:cNvPicPr>
            <a:picLocks noChangeAspect="1"/>
          </p:cNvPicPr>
          <p:nvPr/>
        </p:nvPicPr>
        <p:blipFill>
          <a:blip r:embed="rId9"/>
          <a:stretch>
            <a:fillRect/>
          </a:stretch>
        </p:blipFill>
        <p:spPr>
          <a:xfrm>
            <a:off x="3300758" y="3227988"/>
            <a:ext cx="2547397" cy="2203154"/>
          </a:xfrm>
          <a:prstGeom prst="rect">
            <a:avLst/>
          </a:prstGeom>
        </p:spPr>
      </p:pic>
      <p:sp>
        <p:nvSpPr>
          <p:cNvPr id="170" name="矩形: 圆角 169">
            <a:extLst>
              <a:ext uri="{FF2B5EF4-FFF2-40B4-BE49-F238E27FC236}">
                <a16:creationId xmlns:a16="http://schemas.microsoft.com/office/drawing/2014/main" id="{E618DCE5-7059-48BD-9AEF-0FEB51C182A2}"/>
              </a:ext>
            </a:extLst>
          </p:cNvPr>
          <p:cNvSpPr/>
          <p:nvPr/>
        </p:nvSpPr>
        <p:spPr>
          <a:xfrm>
            <a:off x="815526" y="2918854"/>
            <a:ext cx="2185528" cy="2969314"/>
          </a:xfrm>
          <a:prstGeom prst="roundRect">
            <a:avLst>
              <a:gd name="adj" fmla="val 12315"/>
            </a:avLst>
          </a:prstGeom>
          <a:solidFill>
            <a:srgbClr val="F9F9F9"/>
          </a:solidFill>
          <a:ln w="19050">
            <a:noFill/>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rtlCol="0" anchor="ctr"/>
          <a:lstStyle/>
          <a:p>
            <a:pPr algn="ctr"/>
            <a:r>
              <a:rPr kumimoji="1" lang="zh-CN" altLang="en-US" sz="1400">
                <a:latin typeface="微软雅黑" panose="020B0503020204020204" pitchFamily="34" charset="-122"/>
                <a:ea typeface="微软雅黑" panose="020B0503020204020204" pitchFamily="34" charset="-122"/>
              </a:rPr>
              <a:t>拉那利尤单抗是</a:t>
            </a:r>
            <a:r>
              <a:rPr kumimoji="1" lang="zh-CN" altLang="en-US" sz="1400" b="1">
                <a:solidFill>
                  <a:schemeClr val="accent2"/>
                </a:solidFill>
                <a:latin typeface="微软雅黑" panose="020B0503020204020204" pitchFamily="34" charset="-122"/>
                <a:ea typeface="微软雅黑" panose="020B0503020204020204" pitchFamily="34" charset="-122"/>
              </a:rPr>
              <a:t>全人源单克隆免疫球蛋白</a:t>
            </a:r>
            <a:r>
              <a:rPr kumimoji="1" lang="en-US" altLang="zh-CN" sz="1400" b="1">
                <a:solidFill>
                  <a:schemeClr val="accent2"/>
                </a:solidFill>
                <a:latin typeface="微软雅黑" panose="020B0503020204020204" pitchFamily="34" charset="-122"/>
                <a:ea typeface="微软雅黑" panose="020B0503020204020204" pitchFamily="34" charset="-122"/>
              </a:rPr>
              <a:t>IgG1</a:t>
            </a:r>
            <a:r>
              <a:rPr kumimoji="1" lang="zh-CN" altLang="en-US" sz="1400">
                <a:latin typeface="微软雅黑" panose="020B0503020204020204" pitchFamily="34" charset="-122"/>
                <a:ea typeface="微软雅黑" panose="020B0503020204020204" pitchFamily="34" charset="-122"/>
              </a:rPr>
              <a:t>，是一种针对血浆激肽释放酶的高效选择性抗体</a:t>
            </a:r>
            <a:endParaRPr kumimoji="1" lang="en-US" altLang="zh-CN" sz="1400">
              <a:latin typeface="微软雅黑" panose="020B0503020204020204" pitchFamily="34" charset="-122"/>
              <a:ea typeface="微软雅黑" panose="020B0503020204020204" pitchFamily="34" charset="-122"/>
            </a:endParaRPr>
          </a:p>
          <a:p>
            <a:pPr algn="ctr"/>
            <a:endParaRPr kumimoji="1" lang="en-US" altLang="zh-CN" sz="1400">
              <a:latin typeface="微软雅黑" panose="020B0503020204020204" pitchFamily="34" charset="-122"/>
              <a:ea typeface="微软雅黑" panose="020B0503020204020204" pitchFamily="34" charset="-122"/>
            </a:endParaRPr>
          </a:p>
          <a:p>
            <a:pPr algn="ctr"/>
            <a:endParaRPr kumimoji="1" lang="zh-CN" altLang="en-US" sz="1400">
              <a:latin typeface="微软雅黑" panose="020B0503020204020204" pitchFamily="34" charset="-122"/>
              <a:ea typeface="微软雅黑" panose="020B0503020204020204" pitchFamily="34" charset="-122"/>
            </a:endParaRPr>
          </a:p>
          <a:p>
            <a:pPr algn="ctr"/>
            <a:endParaRPr kumimoji="1" lang="zh-CN" altLang="en-US" sz="1400">
              <a:latin typeface="微软雅黑" panose="020B0503020204020204" pitchFamily="34" charset="-122"/>
              <a:ea typeface="微软雅黑" panose="020B0503020204020204" pitchFamily="34" charset="-122"/>
            </a:endParaRPr>
          </a:p>
        </p:txBody>
      </p:sp>
      <p:sp>
        <p:nvSpPr>
          <p:cNvPr id="193" name="文本框 192">
            <a:extLst>
              <a:ext uri="{FF2B5EF4-FFF2-40B4-BE49-F238E27FC236}">
                <a16:creationId xmlns:a16="http://schemas.microsoft.com/office/drawing/2014/main" id="{E4D653CD-233B-4B59-8CA4-BC3709FEDC14}"/>
              </a:ext>
            </a:extLst>
          </p:cNvPr>
          <p:cNvSpPr txBox="1"/>
          <p:nvPr/>
        </p:nvSpPr>
        <p:spPr>
          <a:xfrm>
            <a:off x="3617523" y="2981372"/>
            <a:ext cx="2173871" cy="307777"/>
          </a:xfrm>
          <a:prstGeom prst="rect">
            <a:avLst/>
          </a:prstGeom>
          <a:noFill/>
        </p:spPr>
        <p:txBody>
          <a:bodyPr wrap="square">
            <a:spAutoFit/>
          </a:bodyPr>
          <a:lstStyle/>
          <a:p>
            <a:r>
              <a:rPr lang="zh-CN" altLang="en-US" sz="1400" b="1" i="0" u="none" strike="noStrike" baseline="0">
                <a:solidFill>
                  <a:schemeClr val="accent2"/>
                </a:solidFill>
                <a:latin typeface="微软雅黑" panose="020B0503020204020204" pitchFamily="34" charset="-122"/>
                <a:ea typeface="微软雅黑" panose="020B0503020204020204" pitchFamily="34" charset="-122"/>
              </a:rPr>
              <a:t>拉那利尤单抗作用机制</a:t>
            </a:r>
            <a:endParaRPr lang="zh-CN" altLang="en-US" sz="1400">
              <a:solidFill>
                <a:schemeClr val="accent2"/>
              </a:solidFill>
              <a:latin typeface="微软雅黑" panose="020B0503020204020204" pitchFamily="34" charset="-122"/>
              <a:ea typeface="微软雅黑" panose="020B0503020204020204" pitchFamily="34" charset="-122"/>
            </a:endParaRPr>
          </a:p>
        </p:txBody>
      </p:sp>
      <p:grpSp>
        <p:nvGrpSpPr>
          <p:cNvPr id="55" name="组合 54">
            <a:extLst>
              <a:ext uri="{FF2B5EF4-FFF2-40B4-BE49-F238E27FC236}">
                <a16:creationId xmlns:a16="http://schemas.microsoft.com/office/drawing/2014/main" id="{AE77893E-7639-4AEC-B0E5-1B991291735E}"/>
              </a:ext>
            </a:extLst>
          </p:cNvPr>
          <p:cNvGrpSpPr/>
          <p:nvPr/>
        </p:nvGrpSpPr>
        <p:grpSpPr>
          <a:xfrm>
            <a:off x="1951793" y="4901329"/>
            <a:ext cx="468000" cy="468000"/>
            <a:chOff x="792820" y="4452903"/>
            <a:chExt cx="720000" cy="720000"/>
          </a:xfrm>
          <a:effectLst>
            <a:outerShdw blurRad="50800" dist="38100" dir="2700000" algn="tl" rotWithShape="0">
              <a:prstClr val="black">
                <a:alpha val="40000"/>
              </a:prstClr>
            </a:outerShdw>
          </a:effectLst>
        </p:grpSpPr>
        <p:sp>
          <p:nvSpPr>
            <p:cNvPr id="56" name="Freeform 63">
              <a:extLst>
                <a:ext uri="{FF2B5EF4-FFF2-40B4-BE49-F238E27FC236}">
                  <a16:creationId xmlns:a16="http://schemas.microsoft.com/office/drawing/2014/main" id="{158509DF-2ECC-4E13-A9A3-3AE199087AF8}"/>
                </a:ext>
              </a:extLst>
            </p:cNvPr>
            <p:cNvSpPr>
              <a:spLocks/>
            </p:cNvSpPr>
            <p:nvPr/>
          </p:nvSpPr>
          <p:spPr bwMode="auto">
            <a:xfrm>
              <a:off x="792820" y="4452903"/>
              <a:ext cx="720000" cy="720000"/>
            </a:xfrm>
            <a:custGeom>
              <a:avLst/>
              <a:gdLst/>
              <a:ahLst/>
              <a:cxnLst>
                <a:cxn ang="0">
                  <a:pos x="4778" y="2578"/>
                </a:cxn>
                <a:cxn ang="0">
                  <a:pos x="4736" y="2876"/>
                </a:cxn>
                <a:cxn ang="0">
                  <a:pos x="4660" y="3160"/>
                </a:cxn>
                <a:cxn ang="0">
                  <a:pos x="4550" y="3430"/>
                </a:cxn>
                <a:cxn ang="0">
                  <a:pos x="4408" y="3684"/>
                </a:cxn>
                <a:cxn ang="0">
                  <a:pos x="4238" y="3916"/>
                </a:cxn>
                <a:cxn ang="0">
                  <a:pos x="4044" y="4126"/>
                </a:cxn>
                <a:cxn ang="0">
                  <a:pos x="3824" y="4310"/>
                </a:cxn>
                <a:cxn ang="0">
                  <a:pos x="3584" y="4470"/>
                </a:cxn>
                <a:cxn ang="0">
                  <a:pos x="3324" y="4598"/>
                </a:cxn>
                <a:cxn ang="0">
                  <a:pos x="3048" y="4696"/>
                </a:cxn>
                <a:cxn ang="0">
                  <a:pos x="2756" y="4758"/>
                </a:cxn>
                <a:cxn ang="0">
                  <a:pos x="2454" y="4786"/>
                </a:cxn>
                <a:cxn ang="0">
                  <a:pos x="2208" y="4780"/>
                </a:cxn>
                <a:cxn ang="0">
                  <a:pos x="1910" y="4738"/>
                </a:cxn>
                <a:cxn ang="0">
                  <a:pos x="1626" y="4660"/>
                </a:cxn>
                <a:cxn ang="0">
                  <a:pos x="1356" y="4550"/>
                </a:cxn>
                <a:cxn ang="0">
                  <a:pos x="1102" y="4410"/>
                </a:cxn>
                <a:cxn ang="0">
                  <a:pos x="870" y="4240"/>
                </a:cxn>
                <a:cxn ang="0">
                  <a:pos x="660" y="4044"/>
                </a:cxn>
                <a:cxn ang="0">
                  <a:pos x="476" y="3826"/>
                </a:cxn>
                <a:cxn ang="0">
                  <a:pos x="316" y="3584"/>
                </a:cxn>
                <a:cxn ang="0">
                  <a:pos x="188" y="3324"/>
                </a:cxn>
                <a:cxn ang="0">
                  <a:pos x="90" y="3048"/>
                </a:cxn>
                <a:cxn ang="0">
                  <a:pos x="28" y="2758"/>
                </a:cxn>
                <a:cxn ang="0">
                  <a:pos x="0" y="2456"/>
                </a:cxn>
                <a:cxn ang="0">
                  <a:pos x="6" y="2210"/>
                </a:cxn>
                <a:cxn ang="0">
                  <a:pos x="48" y="1912"/>
                </a:cxn>
                <a:cxn ang="0">
                  <a:pos x="126" y="1626"/>
                </a:cxn>
                <a:cxn ang="0">
                  <a:pos x="236" y="1356"/>
                </a:cxn>
                <a:cxn ang="0">
                  <a:pos x="376" y="1104"/>
                </a:cxn>
                <a:cxn ang="0">
                  <a:pos x="546" y="872"/>
                </a:cxn>
                <a:cxn ang="0">
                  <a:pos x="742" y="662"/>
                </a:cxn>
                <a:cxn ang="0">
                  <a:pos x="960" y="476"/>
                </a:cxn>
                <a:cxn ang="0">
                  <a:pos x="1202" y="318"/>
                </a:cxn>
                <a:cxn ang="0">
                  <a:pos x="1462" y="188"/>
                </a:cxn>
                <a:cxn ang="0">
                  <a:pos x="1738" y="92"/>
                </a:cxn>
                <a:cxn ang="0">
                  <a:pos x="2028" y="28"/>
                </a:cxn>
                <a:cxn ang="0">
                  <a:pos x="2330" y="2"/>
                </a:cxn>
                <a:cxn ang="0">
                  <a:pos x="2576" y="8"/>
                </a:cxn>
                <a:cxn ang="0">
                  <a:pos x="2874" y="50"/>
                </a:cxn>
                <a:cxn ang="0">
                  <a:pos x="3160" y="126"/>
                </a:cxn>
                <a:cxn ang="0">
                  <a:pos x="3430" y="236"/>
                </a:cxn>
                <a:cxn ang="0">
                  <a:pos x="3682" y="378"/>
                </a:cxn>
                <a:cxn ang="0">
                  <a:pos x="3914" y="548"/>
                </a:cxn>
                <a:cxn ang="0">
                  <a:pos x="4124" y="742"/>
                </a:cxn>
                <a:cxn ang="0">
                  <a:pos x="4310" y="962"/>
                </a:cxn>
                <a:cxn ang="0">
                  <a:pos x="4468" y="1202"/>
                </a:cxn>
                <a:cxn ang="0">
                  <a:pos x="4598" y="1462"/>
                </a:cxn>
                <a:cxn ang="0">
                  <a:pos x="4694" y="1738"/>
                </a:cxn>
                <a:cxn ang="0">
                  <a:pos x="4758" y="2030"/>
                </a:cxn>
                <a:cxn ang="0">
                  <a:pos x="4784" y="2332"/>
                </a:cxn>
              </a:cxnLst>
              <a:rect l="0" t="0" r="r" b="b"/>
              <a:pathLst>
                <a:path w="4786" h="4786">
                  <a:moveTo>
                    <a:pt x="4786" y="2394"/>
                  </a:moveTo>
                  <a:lnTo>
                    <a:pt x="4786" y="2394"/>
                  </a:lnTo>
                  <a:lnTo>
                    <a:pt x="4784" y="2456"/>
                  </a:lnTo>
                  <a:lnTo>
                    <a:pt x="4782" y="2516"/>
                  </a:lnTo>
                  <a:lnTo>
                    <a:pt x="4778" y="2578"/>
                  </a:lnTo>
                  <a:lnTo>
                    <a:pt x="4772" y="2638"/>
                  </a:lnTo>
                  <a:lnTo>
                    <a:pt x="4766" y="2698"/>
                  </a:lnTo>
                  <a:lnTo>
                    <a:pt x="4758" y="2758"/>
                  </a:lnTo>
                  <a:lnTo>
                    <a:pt x="4748" y="2818"/>
                  </a:lnTo>
                  <a:lnTo>
                    <a:pt x="4736" y="2876"/>
                  </a:lnTo>
                  <a:lnTo>
                    <a:pt x="4724" y="2934"/>
                  </a:lnTo>
                  <a:lnTo>
                    <a:pt x="4710" y="2992"/>
                  </a:lnTo>
                  <a:lnTo>
                    <a:pt x="4694" y="3048"/>
                  </a:lnTo>
                  <a:lnTo>
                    <a:pt x="4678" y="3106"/>
                  </a:lnTo>
                  <a:lnTo>
                    <a:pt x="4660" y="3160"/>
                  </a:lnTo>
                  <a:lnTo>
                    <a:pt x="4640" y="3216"/>
                  </a:lnTo>
                  <a:lnTo>
                    <a:pt x="4620" y="3270"/>
                  </a:lnTo>
                  <a:lnTo>
                    <a:pt x="4598" y="3324"/>
                  </a:lnTo>
                  <a:lnTo>
                    <a:pt x="4574" y="3378"/>
                  </a:lnTo>
                  <a:lnTo>
                    <a:pt x="4550" y="3430"/>
                  </a:lnTo>
                  <a:lnTo>
                    <a:pt x="4524" y="3482"/>
                  </a:lnTo>
                  <a:lnTo>
                    <a:pt x="4496" y="3534"/>
                  </a:lnTo>
                  <a:lnTo>
                    <a:pt x="4468" y="3584"/>
                  </a:lnTo>
                  <a:lnTo>
                    <a:pt x="4438" y="3634"/>
                  </a:lnTo>
                  <a:lnTo>
                    <a:pt x="4408" y="3684"/>
                  </a:lnTo>
                  <a:lnTo>
                    <a:pt x="4376" y="3732"/>
                  </a:lnTo>
                  <a:lnTo>
                    <a:pt x="4344" y="3778"/>
                  </a:lnTo>
                  <a:lnTo>
                    <a:pt x="4310" y="3826"/>
                  </a:lnTo>
                  <a:lnTo>
                    <a:pt x="4274" y="3870"/>
                  </a:lnTo>
                  <a:lnTo>
                    <a:pt x="4238" y="3916"/>
                  </a:lnTo>
                  <a:lnTo>
                    <a:pt x="4202" y="3960"/>
                  </a:lnTo>
                  <a:lnTo>
                    <a:pt x="4164" y="4002"/>
                  </a:lnTo>
                  <a:lnTo>
                    <a:pt x="4124" y="4044"/>
                  </a:lnTo>
                  <a:lnTo>
                    <a:pt x="4084" y="4086"/>
                  </a:lnTo>
                  <a:lnTo>
                    <a:pt x="4044" y="4126"/>
                  </a:lnTo>
                  <a:lnTo>
                    <a:pt x="4002" y="4164"/>
                  </a:lnTo>
                  <a:lnTo>
                    <a:pt x="3958" y="4202"/>
                  </a:lnTo>
                  <a:lnTo>
                    <a:pt x="3914" y="4240"/>
                  </a:lnTo>
                  <a:lnTo>
                    <a:pt x="3870" y="4276"/>
                  </a:lnTo>
                  <a:lnTo>
                    <a:pt x="3824" y="4310"/>
                  </a:lnTo>
                  <a:lnTo>
                    <a:pt x="3778" y="4344"/>
                  </a:lnTo>
                  <a:lnTo>
                    <a:pt x="3730" y="4378"/>
                  </a:lnTo>
                  <a:lnTo>
                    <a:pt x="3682" y="4410"/>
                  </a:lnTo>
                  <a:lnTo>
                    <a:pt x="3634" y="4440"/>
                  </a:lnTo>
                  <a:lnTo>
                    <a:pt x="3584" y="4470"/>
                  </a:lnTo>
                  <a:lnTo>
                    <a:pt x="3534" y="4498"/>
                  </a:lnTo>
                  <a:lnTo>
                    <a:pt x="3482" y="4524"/>
                  </a:lnTo>
                  <a:lnTo>
                    <a:pt x="3430" y="4550"/>
                  </a:lnTo>
                  <a:lnTo>
                    <a:pt x="3378" y="4574"/>
                  </a:lnTo>
                  <a:lnTo>
                    <a:pt x="3324" y="4598"/>
                  </a:lnTo>
                  <a:lnTo>
                    <a:pt x="3270" y="4620"/>
                  </a:lnTo>
                  <a:lnTo>
                    <a:pt x="3216" y="4642"/>
                  </a:lnTo>
                  <a:lnTo>
                    <a:pt x="3160" y="4660"/>
                  </a:lnTo>
                  <a:lnTo>
                    <a:pt x="3104" y="4678"/>
                  </a:lnTo>
                  <a:lnTo>
                    <a:pt x="3048" y="4696"/>
                  </a:lnTo>
                  <a:lnTo>
                    <a:pt x="2990" y="4712"/>
                  </a:lnTo>
                  <a:lnTo>
                    <a:pt x="2932" y="4726"/>
                  </a:lnTo>
                  <a:lnTo>
                    <a:pt x="2874" y="4738"/>
                  </a:lnTo>
                  <a:lnTo>
                    <a:pt x="2816" y="4748"/>
                  </a:lnTo>
                  <a:lnTo>
                    <a:pt x="2756" y="4758"/>
                  </a:lnTo>
                  <a:lnTo>
                    <a:pt x="2698" y="4768"/>
                  </a:lnTo>
                  <a:lnTo>
                    <a:pt x="2638" y="4774"/>
                  </a:lnTo>
                  <a:lnTo>
                    <a:pt x="2576" y="4780"/>
                  </a:lnTo>
                  <a:lnTo>
                    <a:pt x="2516" y="4784"/>
                  </a:lnTo>
                  <a:lnTo>
                    <a:pt x="2454" y="4786"/>
                  </a:lnTo>
                  <a:lnTo>
                    <a:pt x="2392" y="4786"/>
                  </a:lnTo>
                  <a:lnTo>
                    <a:pt x="2392" y="4786"/>
                  </a:lnTo>
                  <a:lnTo>
                    <a:pt x="2330" y="4786"/>
                  </a:lnTo>
                  <a:lnTo>
                    <a:pt x="2270" y="4784"/>
                  </a:lnTo>
                  <a:lnTo>
                    <a:pt x="2208" y="4780"/>
                  </a:lnTo>
                  <a:lnTo>
                    <a:pt x="2148" y="4774"/>
                  </a:lnTo>
                  <a:lnTo>
                    <a:pt x="2088" y="4768"/>
                  </a:lnTo>
                  <a:lnTo>
                    <a:pt x="2028" y="4758"/>
                  </a:lnTo>
                  <a:lnTo>
                    <a:pt x="1968" y="4748"/>
                  </a:lnTo>
                  <a:lnTo>
                    <a:pt x="1910" y="4738"/>
                  </a:lnTo>
                  <a:lnTo>
                    <a:pt x="1852" y="4726"/>
                  </a:lnTo>
                  <a:lnTo>
                    <a:pt x="1794" y="4712"/>
                  </a:lnTo>
                  <a:lnTo>
                    <a:pt x="1738" y="4696"/>
                  </a:lnTo>
                  <a:lnTo>
                    <a:pt x="1680" y="4678"/>
                  </a:lnTo>
                  <a:lnTo>
                    <a:pt x="1626" y="4660"/>
                  </a:lnTo>
                  <a:lnTo>
                    <a:pt x="1570" y="4642"/>
                  </a:lnTo>
                  <a:lnTo>
                    <a:pt x="1516" y="4620"/>
                  </a:lnTo>
                  <a:lnTo>
                    <a:pt x="1462" y="4598"/>
                  </a:lnTo>
                  <a:lnTo>
                    <a:pt x="1408" y="4574"/>
                  </a:lnTo>
                  <a:lnTo>
                    <a:pt x="1356" y="4550"/>
                  </a:lnTo>
                  <a:lnTo>
                    <a:pt x="1304" y="4524"/>
                  </a:lnTo>
                  <a:lnTo>
                    <a:pt x="1252" y="4498"/>
                  </a:lnTo>
                  <a:lnTo>
                    <a:pt x="1202" y="4470"/>
                  </a:lnTo>
                  <a:lnTo>
                    <a:pt x="1152" y="4440"/>
                  </a:lnTo>
                  <a:lnTo>
                    <a:pt x="1102" y="4410"/>
                  </a:lnTo>
                  <a:lnTo>
                    <a:pt x="1054" y="4378"/>
                  </a:lnTo>
                  <a:lnTo>
                    <a:pt x="1008" y="4344"/>
                  </a:lnTo>
                  <a:lnTo>
                    <a:pt x="960" y="4310"/>
                  </a:lnTo>
                  <a:lnTo>
                    <a:pt x="916" y="4276"/>
                  </a:lnTo>
                  <a:lnTo>
                    <a:pt x="870" y="4240"/>
                  </a:lnTo>
                  <a:lnTo>
                    <a:pt x="826" y="4202"/>
                  </a:lnTo>
                  <a:lnTo>
                    <a:pt x="784" y="4164"/>
                  </a:lnTo>
                  <a:lnTo>
                    <a:pt x="742" y="4126"/>
                  </a:lnTo>
                  <a:lnTo>
                    <a:pt x="700" y="4086"/>
                  </a:lnTo>
                  <a:lnTo>
                    <a:pt x="660" y="4044"/>
                  </a:lnTo>
                  <a:lnTo>
                    <a:pt x="622" y="4002"/>
                  </a:lnTo>
                  <a:lnTo>
                    <a:pt x="584" y="3960"/>
                  </a:lnTo>
                  <a:lnTo>
                    <a:pt x="546" y="3916"/>
                  </a:lnTo>
                  <a:lnTo>
                    <a:pt x="510" y="3870"/>
                  </a:lnTo>
                  <a:lnTo>
                    <a:pt x="476" y="3826"/>
                  </a:lnTo>
                  <a:lnTo>
                    <a:pt x="442" y="3778"/>
                  </a:lnTo>
                  <a:lnTo>
                    <a:pt x="408" y="3732"/>
                  </a:lnTo>
                  <a:lnTo>
                    <a:pt x="376" y="3684"/>
                  </a:lnTo>
                  <a:lnTo>
                    <a:pt x="346" y="3634"/>
                  </a:lnTo>
                  <a:lnTo>
                    <a:pt x="316" y="3584"/>
                  </a:lnTo>
                  <a:lnTo>
                    <a:pt x="288" y="3534"/>
                  </a:lnTo>
                  <a:lnTo>
                    <a:pt x="262" y="3482"/>
                  </a:lnTo>
                  <a:lnTo>
                    <a:pt x="236" y="3430"/>
                  </a:lnTo>
                  <a:lnTo>
                    <a:pt x="212" y="3378"/>
                  </a:lnTo>
                  <a:lnTo>
                    <a:pt x="188" y="3324"/>
                  </a:lnTo>
                  <a:lnTo>
                    <a:pt x="166" y="3270"/>
                  </a:lnTo>
                  <a:lnTo>
                    <a:pt x="144" y="3216"/>
                  </a:lnTo>
                  <a:lnTo>
                    <a:pt x="126" y="3160"/>
                  </a:lnTo>
                  <a:lnTo>
                    <a:pt x="108" y="3106"/>
                  </a:lnTo>
                  <a:lnTo>
                    <a:pt x="90" y="3048"/>
                  </a:lnTo>
                  <a:lnTo>
                    <a:pt x="74" y="2992"/>
                  </a:lnTo>
                  <a:lnTo>
                    <a:pt x="60" y="2934"/>
                  </a:lnTo>
                  <a:lnTo>
                    <a:pt x="48" y="2876"/>
                  </a:lnTo>
                  <a:lnTo>
                    <a:pt x="38" y="2818"/>
                  </a:lnTo>
                  <a:lnTo>
                    <a:pt x="28" y="2758"/>
                  </a:lnTo>
                  <a:lnTo>
                    <a:pt x="18" y="2698"/>
                  </a:lnTo>
                  <a:lnTo>
                    <a:pt x="12" y="2638"/>
                  </a:lnTo>
                  <a:lnTo>
                    <a:pt x="6" y="2578"/>
                  </a:lnTo>
                  <a:lnTo>
                    <a:pt x="2" y="2516"/>
                  </a:lnTo>
                  <a:lnTo>
                    <a:pt x="0" y="2456"/>
                  </a:lnTo>
                  <a:lnTo>
                    <a:pt x="0" y="2394"/>
                  </a:lnTo>
                  <a:lnTo>
                    <a:pt x="0" y="2394"/>
                  </a:lnTo>
                  <a:lnTo>
                    <a:pt x="0" y="2332"/>
                  </a:lnTo>
                  <a:lnTo>
                    <a:pt x="2" y="2270"/>
                  </a:lnTo>
                  <a:lnTo>
                    <a:pt x="6" y="2210"/>
                  </a:lnTo>
                  <a:lnTo>
                    <a:pt x="12" y="2148"/>
                  </a:lnTo>
                  <a:lnTo>
                    <a:pt x="18" y="2088"/>
                  </a:lnTo>
                  <a:lnTo>
                    <a:pt x="28" y="2030"/>
                  </a:lnTo>
                  <a:lnTo>
                    <a:pt x="38" y="1970"/>
                  </a:lnTo>
                  <a:lnTo>
                    <a:pt x="48" y="1912"/>
                  </a:lnTo>
                  <a:lnTo>
                    <a:pt x="60" y="1854"/>
                  </a:lnTo>
                  <a:lnTo>
                    <a:pt x="74" y="1796"/>
                  </a:lnTo>
                  <a:lnTo>
                    <a:pt x="90" y="1738"/>
                  </a:lnTo>
                  <a:lnTo>
                    <a:pt x="108" y="1682"/>
                  </a:lnTo>
                  <a:lnTo>
                    <a:pt x="126" y="1626"/>
                  </a:lnTo>
                  <a:lnTo>
                    <a:pt x="144" y="1570"/>
                  </a:lnTo>
                  <a:lnTo>
                    <a:pt x="166" y="1516"/>
                  </a:lnTo>
                  <a:lnTo>
                    <a:pt x="188" y="1462"/>
                  </a:lnTo>
                  <a:lnTo>
                    <a:pt x="212" y="1408"/>
                  </a:lnTo>
                  <a:lnTo>
                    <a:pt x="236" y="1356"/>
                  </a:lnTo>
                  <a:lnTo>
                    <a:pt x="262" y="1304"/>
                  </a:lnTo>
                  <a:lnTo>
                    <a:pt x="288" y="1252"/>
                  </a:lnTo>
                  <a:lnTo>
                    <a:pt x="316" y="1202"/>
                  </a:lnTo>
                  <a:lnTo>
                    <a:pt x="346" y="1152"/>
                  </a:lnTo>
                  <a:lnTo>
                    <a:pt x="376" y="1104"/>
                  </a:lnTo>
                  <a:lnTo>
                    <a:pt x="408" y="1056"/>
                  </a:lnTo>
                  <a:lnTo>
                    <a:pt x="442" y="1008"/>
                  </a:lnTo>
                  <a:lnTo>
                    <a:pt x="476" y="962"/>
                  </a:lnTo>
                  <a:lnTo>
                    <a:pt x="510" y="916"/>
                  </a:lnTo>
                  <a:lnTo>
                    <a:pt x="546" y="872"/>
                  </a:lnTo>
                  <a:lnTo>
                    <a:pt x="584" y="828"/>
                  </a:lnTo>
                  <a:lnTo>
                    <a:pt x="622" y="784"/>
                  </a:lnTo>
                  <a:lnTo>
                    <a:pt x="660" y="742"/>
                  </a:lnTo>
                  <a:lnTo>
                    <a:pt x="700" y="702"/>
                  </a:lnTo>
                  <a:lnTo>
                    <a:pt x="742" y="662"/>
                  </a:lnTo>
                  <a:lnTo>
                    <a:pt x="784" y="622"/>
                  </a:lnTo>
                  <a:lnTo>
                    <a:pt x="826" y="584"/>
                  </a:lnTo>
                  <a:lnTo>
                    <a:pt x="870" y="548"/>
                  </a:lnTo>
                  <a:lnTo>
                    <a:pt x="916" y="512"/>
                  </a:lnTo>
                  <a:lnTo>
                    <a:pt x="960" y="476"/>
                  </a:lnTo>
                  <a:lnTo>
                    <a:pt x="1008" y="442"/>
                  </a:lnTo>
                  <a:lnTo>
                    <a:pt x="1054" y="410"/>
                  </a:lnTo>
                  <a:lnTo>
                    <a:pt x="1102" y="378"/>
                  </a:lnTo>
                  <a:lnTo>
                    <a:pt x="1152" y="348"/>
                  </a:lnTo>
                  <a:lnTo>
                    <a:pt x="1202" y="318"/>
                  </a:lnTo>
                  <a:lnTo>
                    <a:pt x="1252" y="290"/>
                  </a:lnTo>
                  <a:lnTo>
                    <a:pt x="1304" y="262"/>
                  </a:lnTo>
                  <a:lnTo>
                    <a:pt x="1356" y="236"/>
                  </a:lnTo>
                  <a:lnTo>
                    <a:pt x="1408" y="212"/>
                  </a:lnTo>
                  <a:lnTo>
                    <a:pt x="1462" y="188"/>
                  </a:lnTo>
                  <a:lnTo>
                    <a:pt x="1516" y="166"/>
                  </a:lnTo>
                  <a:lnTo>
                    <a:pt x="1570" y="146"/>
                  </a:lnTo>
                  <a:lnTo>
                    <a:pt x="1626" y="126"/>
                  </a:lnTo>
                  <a:lnTo>
                    <a:pt x="1680" y="108"/>
                  </a:lnTo>
                  <a:lnTo>
                    <a:pt x="1738" y="92"/>
                  </a:lnTo>
                  <a:lnTo>
                    <a:pt x="1794" y="76"/>
                  </a:lnTo>
                  <a:lnTo>
                    <a:pt x="1852" y="62"/>
                  </a:lnTo>
                  <a:lnTo>
                    <a:pt x="1910" y="50"/>
                  </a:lnTo>
                  <a:lnTo>
                    <a:pt x="1968" y="38"/>
                  </a:lnTo>
                  <a:lnTo>
                    <a:pt x="2028" y="28"/>
                  </a:lnTo>
                  <a:lnTo>
                    <a:pt x="2088" y="20"/>
                  </a:lnTo>
                  <a:lnTo>
                    <a:pt x="2148" y="14"/>
                  </a:lnTo>
                  <a:lnTo>
                    <a:pt x="2208" y="8"/>
                  </a:lnTo>
                  <a:lnTo>
                    <a:pt x="2270" y="4"/>
                  </a:lnTo>
                  <a:lnTo>
                    <a:pt x="2330" y="2"/>
                  </a:lnTo>
                  <a:lnTo>
                    <a:pt x="2392" y="0"/>
                  </a:lnTo>
                  <a:lnTo>
                    <a:pt x="2392" y="0"/>
                  </a:lnTo>
                  <a:lnTo>
                    <a:pt x="2454" y="2"/>
                  </a:lnTo>
                  <a:lnTo>
                    <a:pt x="2516" y="4"/>
                  </a:lnTo>
                  <a:lnTo>
                    <a:pt x="2576" y="8"/>
                  </a:lnTo>
                  <a:lnTo>
                    <a:pt x="2638" y="14"/>
                  </a:lnTo>
                  <a:lnTo>
                    <a:pt x="2698" y="20"/>
                  </a:lnTo>
                  <a:lnTo>
                    <a:pt x="2756" y="28"/>
                  </a:lnTo>
                  <a:lnTo>
                    <a:pt x="2816" y="38"/>
                  </a:lnTo>
                  <a:lnTo>
                    <a:pt x="2874" y="50"/>
                  </a:lnTo>
                  <a:lnTo>
                    <a:pt x="2932" y="62"/>
                  </a:lnTo>
                  <a:lnTo>
                    <a:pt x="2990" y="76"/>
                  </a:lnTo>
                  <a:lnTo>
                    <a:pt x="3048" y="92"/>
                  </a:lnTo>
                  <a:lnTo>
                    <a:pt x="3104" y="108"/>
                  </a:lnTo>
                  <a:lnTo>
                    <a:pt x="3160" y="126"/>
                  </a:lnTo>
                  <a:lnTo>
                    <a:pt x="3216" y="146"/>
                  </a:lnTo>
                  <a:lnTo>
                    <a:pt x="3270" y="166"/>
                  </a:lnTo>
                  <a:lnTo>
                    <a:pt x="3324" y="188"/>
                  </a:lnTo>
                  <a:lnTo>
                    <a:pt x="3378" y="212"/>
                  </a:lnTo>
                  <a:lnTo>
                    <a:pt x="3430" y="236"/>
                  </a:lnTo>
                  <a:lnTo>
                    <a:pt x="3482" y="262"/>
                  </a:lnTo>
                  <a:lnTo>
                    <a:pt x="3534" y="290"/>
                  </a:lnTo>
                  <a:lnTo>
                    <a:pt x="3584" y="318"/>
                  </a:lnTo>
                  <a:lnTo>
                    <a:pt x="3634" y="348"/>
                  </a:lnTo>
                  <a:lnTo>
                    <a:pt x="3682" y="378"/>
                  </a:lnTo>
                  <a:lnTo>
                    <a:pt x="3730" y="410"/>
                  </a:lnTo>
                  <a:lnTo>
                    <a:pt x="3778" y="442"/>
                  </a:lnTo>
                  <a:lnTo>
                    <a:pt x="3824" y="476"/>
                  </a:lnTo>
                  <a:lnTo>
                    <a:pt x="3870" y="512"/>
                  </a:lnTo>
                  <a:lnTo>
                    <a:pt x="3914" y="548"/>
                  </a:lnTo>
                  <a:lnTo>
                    <a:pt x="3958" y="584"/>
                  </a:lnTo>
                  <a:lnTo>
                    <a:pt x="4002" y="622"/>
                  </a:lnTo>
                  <a:lnTo>
                    <a:pt x="4044" y="662"/>
                  </a:lnTo>
                  <a:lnTo>
                    <a:pt x="4084" y="702"/>
                  </a:lnTo>
                  <a:lnTo>
                    <a:pt x="4124" y="742"/>
                  </a:lnTo>
                  <a:lnTo>
                    <a:pt x="4164" y="784"/>
                  </a:lnTo>
                  <a:lnTo>
                    <a:pt x="4202" y="828"/>
                  </a:lnTo>
                  <a:lnTo>
                    <a:pt x="4238" y="872"/>
                  </a:lnTo>
                  <a:lnTo>
                    <a:pt x="4274" y="916"/>
                  </a:lnTo>
                  <a:lnTo>
                    <a:pt x="4310" y="962"/>
                  </a:lnTo>
                  <a:lnTo>
                    <a:pt x="4344" y="1008"/>
                  </a:lnTo>
                  <a:lnTo>
                    <a:pt x="4376" y="1056"/>
                  </a:lnTo>
                  <a:lnTo>
                    <a:pt x="4408" y="1104"/>
                  </a:lnTo>
                  <a:lnTo>
                    <a:pt x="4438" y="1152"/>
                  </a:lnTo>
                  <a:lnTo>
                    <a:pt x="4468" y="1202"/>
                  </a:lnTo>
                  <a:lnTo>
                    <a:pt x="4496" y="1252"/>
                  </a:lnTo>
                  <a:lnTo>
                    <a:pt x="4524" y="1304"/>
                  </a:lnTo>
                  <a:lnTo>
                    <a:pt x="4550" y="1356"/>
                  </a:lnTo>
                  <a:lnTo>
                    <a:pt x="4574" y="1408"/>
                  </a:lnTo>
                  <a:lnTo>
                    <a:pt x="4598" y="1462"/>
                  </a:lnTo>
                  <a:lnTo>
                    <a:pt x="4620" y="1516"/>
                  </a:lnTo>
                  <a:lnTo>
                    <a:pt x="4640" y="1570"/>
                  </a:lnTo>
                  <a:lnTo>
                    <a:pt x="4660" y="1626"/>
                  </a:lnTo>
                  <a:lnTo>
                    <a:pt x="4678" y="1682"/>
                  </a:lnTo>
                  <a:lnTo>
                    <a:pt x="4694" y="1738"/>
                  </a:lnTo>
                  <a:lnTo>
                    <a:pt x="4710" y="1796"/>
                  </a:lnTo>
                  <a:lnTo>
                    <a:pt x="4724" y="1854"/>
                  </a:lnTo>
                  <a:lnTo>
                    <a:pt x="4736" y="1912"/>
                  </a:lnTo>
                  <a:lnTo>
                    <a:pt x="4748" y="1970"/>
                  </a:lnTo>
                  <a:lnTo>
                    <a:pt x="4758" y="2030"/>
                  </a:lnTo>
                  <a:lnTo>
                    <a:pt x="4766" y="2088"/>
                  </a:lnTo>
                  <a:lnTo>
                    <a:pt x="4772" y="2148"/>
                  </a:lnTo>
                  <a:lnTo>
                    <a:pt x="4778" y="2210"/>
                  </a:lnTo>
                  <a:lnTo>
                    <a:pt x="4782" y="2270"/>
                  </a:lnTo>
                  <a:lnTo>
                    <a:pt x="4784" y="2332"/>
                  </a:lnTo>
                  <a:lnTo>
                    <a:pt x="4786" y="2394"/>
                  </a:lnTo>
                  <a:lnTo>
                    <a:pt x="4786" y="2394"/>
                  </a:lnTo>
                  <a:close/>
                </a:path>
              </a:pathLst>
            </a:custGeom>
            <a:solidFill>
              <a:srgbClr val="ED7C7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nvGrpSpPr>
            <p:cNvPr id="57" name="Group 247">
              <a:extLst>
                <a:ext uri="{FF2B5EF4-FFF2-40B4-BE49-F238E27FC236}">
                  <a16:creationId xmlns:a16="http://schemas.microsoft.com/office/drawing/2014/main" id="{9D33FBCC-12B9-4C66-9E7F-005EC4093756}"/>
                </a:ext>
              </a:extLst>
            </p:cNvPr>
            <p:cNvGrpSpPr/>
            <p:nvPr/>
          </p:nvGrpSpPr>
          <p:grpSpPr>
            <a:xfrm>
              <a:off x="943635" y="4566768"/>
              <a:ext cx="451244" cy="524924"/>
              <a:chOff x="-4678363" y="3956050"/>
              <a:chExt cx="1117600" cy="1122363"/>
            </a:xfrm>
            <a:solidFill>
              <a:srgbClr val="F2F2F2"/>
            </a:solidFill>
          </p:grpSpPr>
          <p:sp>
            <p:nvSpPr>
              <p:cNvPr id="58" name="Freeform 150">
                <a:extLst>
                  <a:ext uri="{FF2B5EF4-FFF2-40B4-BE49-F238E27FC236}">
                    <a16:creationId xmlns:a16="http://schemas.microsoft.com/office/drawing/2014/main" id="{BC4B369B-4BF0-4178-BC7F-5087EE357318}"/>
                  </a:ext>
                </a:extLst>
              </p:cNvPr>
              <p:cNvSpPr>
                <a:spLocks noEditPoints="1"/>
              </p:cNvSpPr>
              <p:nvPr/>
            </p:nvSpPr>
            <p:spPr bwMode="auto">
              <a:xfrm>
                <a:off x="-4678363" y="3956050"/>
                <a:ext cx="982662" cy="965200"/>
              </a:xfrm>
              <a:custGeom>
                <a:avLst/>
                <a:gdLst/>
                <a:ahLst/>
                <a:cxnLst>
                  <a:cxn ang="0">
                    <a:pos x="200" y="56"/>
                  </a:cxn>
                  <a:cxn ang="0">
                    <a:pos x="217" y="17"/>
                  </a:cxn>
                  <a:cxn ang="0">
                    <a:pos x="255" y="0"/>
                  </a:cxn>
                  <a:cxn ang="0">
                    <a:pos x="286" y="10"/>
                  </a:cxn>
                  <a:cxn ang="0">
                    <a:pos x="309" y="44"/>
                  </a:cxn>
                  <a:cxn ang="0">
                    <a:pos x="309" y="305"/>
                  </a:cxn>
                  <a:cxn ang="0">
                    <a:pos x="286" y="340"/>
                  </a:cxn>
                  <a:cxn ang="0">
                    <a:pos x="255" y="349"/>
                  </a:cxn>
                  <a:cxn ang="0">
                    <a:pos x="217" y="333"/>
                  </a:cxn>
                  <a:cxn ang="0">
                    <a:pos x="200" y="294"/>
                  </a:cxn>
                  <a:cxn ang="0">
                    <a:pos x="1139" y="455"/>
                  </a:cxn>
                  <a:cxn ang="0">
                    <a:pos x="1145" y="150"/>
                  </a:cxn>
                  <a:cxn ang="0">
                    <a:pos x="1173" y="154"/>
                  </a:cxn>
                  <a:cxn ang="0">
                    <a:pos x="1204" y="172"/>
                  </a:cxn>
                  <a:cxn ang="0">
                    <a:pos x="1228" y="200"/>
                  </a:cxn>
                  <a:cxn ang="0">
                    <a:pos x="1239" y="234"/>
                  </a:cxn>
                  <a:cxn ang="0">
                    <a:pos x="1216" y="707"/>
                  </a:cxn>
                  <a:cxn ang="0">
                    <a:pos x="1139" y="521"/>
                  </a:cxn>
                  <a:cxn ang="0">
                    <a:pos x="674" y="1117"/>
                  </a:cxn>
                  <a:cxn ang="0">
                    <a:pos x="699" y="1217"/>
                  </a:cxn>
                  <a:cxn ang="0">
                    <a:pos x="75" y="1215"/>
                  </a:cxn>
                  <a:cxn ang="0">
                    <a:pos x="42" y="1201"/>
                  </a:cxn>
                  <a:cxn ang="0">
                    <a:pos x="23" y="1182"/>
                  </a:cxn>
                  <a:cxn ang="0">
                    <a:pos x="5" y="1150"/>
                  </a:cxn>
                  <a:cxn ang="0">
                    <a:pos x="0" y="244"/>
                  </a:cxn>
                  <a:cxn ang="0">
                    <a:pos x="5" y="216"/>
                  </a:cxn>
                  <a:cxn ang="0">
                    <a:pos x="23" y="184"/>
                  </a:cxn>
                  <a:cxn ang="0">
                    <a:pos x="50" y="162"/>
                  </a:cxn>
                  <a:cxn ang="0">
                    <a:pos x="85" y="151"/>
                  </a:cxn>
                  <a:cxn ang="0">
                    <a:pos x="638" y="294"/>
                  </a:cxn>
                  <a:cxn ang="0">
                    <a:pos x="621" y="333"/>
                  </a:cxn>
                  <a:cxn ang="0">
                    <a:pos x="582" y="349"/>
                  </a:cxn>
                  <a:cxn ang="0">
                    <a:pos x="552" y="340"/>
                  </a:cxn>
                  <a:cxn ang="0">
                    <a:pos x="528" y="305"/>
                  </a:cxn>
                  <a:cxn ang="0">
                    <a:pos x="377" y="150"/>
                  </a:cxn>
                  <a:cxn ang="0">
                    <a:pos x="528" y="44"/>
                  </a:cxn>
                  <a:cxn ang="0">
                    <a:pos x="552" y="10"/>
                  </a:cxn>
                  <a:cxn ang="0">
                    <a:pos x="582" y="0"/>
                  </a:cxn>
                  <a:cxn ang="0">
                    <a:pos x="621" y="17"/>
                  </a:cxn>
                  <a:cxn ang="0">
                    <a:pos x="638" y="56"/>
                  </a:cxn>
                  <a:cxn ang="0">
                    <a:pos x="965" y="294"/>
                  </a:cxn>
                  <a:cxn ang="0">
                    <a:pos x="948" y="333"/>
                  </a:cxn>
                  <a:cxn ang="0">
                    <a:pos x="909" y="349"/>
                  </a:cxn>
                  <a:cxn ang="0">
                    <a:pos x="877" y="340"/>
                  </a:cxn>
                  <a:cxn ang="0">
                    <a:pos x="855" y="305"/>
                  </a:cxn>
                  <a:cxn ang="0">
                    <a:pos x="704" y="150"/>
                  </a:cxn>
                  <a:cxn ang="0">
                    <a:pos x="855" y="44"/>
                  </a:cxn>
                  <a:cxn ang="0">
                    <a:pos x="877" y="10"/>
                  </a:cxn>
                  <a:cxn ang="0">
                    <a:pos x="909" y="0"/>
                  </a:cxn>
                  <a:cxn ang="0">
                    <a:pos x="948" y="17"/>
                  </a:cxn>
                  <a:cxn ang="0">
                    <a:pos x="965" y="56"/>
                  </a:cxn>
                </a:cxnLst>
                <a:rect l="0" t="0" r="r" b="b"/>
                <a:pathLst>
                  <a:path w="1239" h="1217">
                    <a:moveTo>
                      <a:pt x="95" y="150"/>
                    </a:moveTo>
                    <a:lnTo>
                      <a:pt x="200" y="150"/>
                    </a:lnTo>
                    <a:lnTo>
                      <a:pt x="200" y="56"/>
                    </a:lnTo>
                    <a:lnTo>
                      <a:pt x="200" y="56"/>
                    </a:lnTo>
                    <a:lnTo>
                      <a:pt x="201" y="44"/>
                    </a:lnTo>
                    <a:lnTo>
                      <a:pt x="204" y="35"/>
                    </a:lnTo>
                    <a:lnTo>
                      <a:pt x="210" y="25"/>
                    </a:lnTo>
                    <a:lnTo>
                      <a:pt x="217" y="17"/>
                    </a:lnTo>
                    <a:lnTo>
                      <a:pt x="223" y="10"/>
                    </a:lnTo>
                    <a:lnTo>
                      <a:pt x="233" y="4"/>
                    </a:lnTo>
                    <a:lnTo>
                      <a:pt x="244" y="1"/>
                    </a:lnTo>
                    <a:lnTo>
                      <a:pt x="255" y="0"/>
                    </a:lnTo>
                    <a:lnTo>
                      <a:pt x="255" y="0"/>
                    </a:lnTo>
                    <a:lnTo>
                      <a:pt x="266" y="1"/>
                    </a:lnTo>
                    <a:lnTo>
                      <a:pt x="276" y="4"/>
                    </a:lnTo>
                    <a:lnTo>
                      <a:pt x="286" y="10"/>
                    </a:lnTo>
                    <a:lnTo>
                      <a:pt x="294" y="17"/>
                    </a:lnTo>
                    <a:lnTo>
                      <a:pt x="301" y="25"/>
                    </a:lnTo>
                    <a:lnTo>
                      <a:pt x="307" y="35"/>
                    </a:lnTo>
                    <a:lnTo>
                      <a:pt x="309" y="44"/>
                    </a:lnTo>
                    <a:lnTo>
                      <a:pt x="311" y="56"/>
                    </a:lnTo>
                    <a:lnTo>
                      <a:pt x="311" y="294"/>
                    </a:lnTo>
                    <a:lnTo>
                      <a:pt x="311" y="294"/>
                    </a:lnTo>
                    <a:lnTo>
                      <a:pt x="309" y="305"/>
                    </a:lnTo>
                    <a:lnTo>
                      <a:pt x="307" y="316"/>
                    </a:lnTo>
                    <a:lnTo>
                      <a:pt x="301" y="326"/>
                    </a:lnTo>
                    <a:lnTo>
                      <a:pt x="294" y="333"/>
                    </a:lnTo>
                    <a:lnTo>
                      <a:pt x="286" y="340"/>
                    </a:lnTo>
                    <a:lnTo>
                      <a:pt x="276" y="345"/>
                    </a:lnTo>
                    <a:lnTo>
                      <a:pt x="266" y="348"/>
                    </a:lnTo>
                    <a:lnTo>
                      <a:pt x="255" y="349"/>
                    </a:lnTo>
                    <a:lnTo>
                      <a:pt x="255" y="349"/>
                    </a:lnTo>
                    <a:lnTo>
                      <a:pt x="244" y="348"/>
                    </a:lnTo>
                    <a:lnTo>
                      <a:pt x="233" y="345"/>
                    </a:lnTo>
                    <a:lnTo>
                      <a:pt x="223" y="340"/>
                    </a:lnTo>
                    <a:lnTo>
                      <a:pt x="217" y="333"/>
                    </a:lnTo>
                    <a:lnTo>
                      <a:pt x="210" y="326"/>
                    </a:lnTo>
                    <a:lnTo>
                      <a:pt x="204" y="316"/>
                    </a:lnTo>
                    <a:lnTo>
                      <a:pt x="201" y="305"/>
                    </a:lnTo>
                    <a:lnTo>
                      <a:pt x="200" y="294"/>
                    </a:lnTo>
                    <a:lnTo>
                      <a:pt x="200" y="249"/>
                    </a:lnTo>
                    <a:lnTo>
                      <a:pt x="100" y="249"/>
                    </a:lnTo>
                    <a:lnTo>
                      <a:pt x="100" y="455"/>
                    </a:lnTo>
                    <a:lnTo>
                      <a:pt x="1139" y="455"/>
                    </a:lnTo>
                    <a:lnTo>
                      <a:pt x="1139" y="249"/>
                    </a:lnTo>
                    <a:lnTo>
                      <a:pt x="1030" y="249"/>
                    </a:lnTo>
                    <a:lnTo>
                      <a:pt x="1031" y="150"/>
                    </a:lnTo>
                    <a:lnTo>
                      <a:pt x="1145" y="150"/>
                    </a:lnTo>
                    <a:lnTo>
                      <a:pt x="1145" y="150"/>
                    </a:lnTo>
                    <a:lnTo>
                      <a:pt x="1155" y="151"/>
                    </a:lnTo>
                    <a:lnTo>
                      <a:pt x="1164" y="153"/>
                    </a:lnTo>
                    <a:lnTo>
                      <a:pt x="1173" y="154"/>
                    </a:lnTo>
                    <a:lnTo>
                      <a:pt x="1181" y="158"/>
                    </a:lnTo>
                    <a:lnTo>
                      <a:pt x="1189" y="162"/>
                    </a:lnTo>
                    <a:lnTo>
                      <a:pt x="1198" y="166"/>
                    </a:lnTo>
                    <a:lnTo>
                      <a:pt x="1204" y="172"/>
                    </a:lnTo>
                    <a:lnTo>
                      <a:pt x="1211" y="177"/>
                    </a:lnTo>
                    <a:lnTo>
                      <a:pt x="1217" y="184"/>
                    </a:lnTo>
                    <a:lnTo>
                      <a:pt x="1222" y="191"/>
                    </a:lnTo>
                    <a:lnTo>
                      <a:pt x="1228" y="200"/>
                    </a:lnTo>
                    <a:lnTo>
                      <a:pt x="1232" y="208"/>
                    </a:lnTo>
                    <a:lnTo>
                      <a:pt x="1235" y="216"/>
                    </a:lnTo>
                    <a:lnTo>
                      <a:pt x="1236" y="226"/>
                    </a:lnTo>
                    <a:lnTo>
                      <a:pt x="1239" y="234"/>
                    </a:lnTo>
                    <a:lnTo>
                      <a:pt x="1239" y="244"/>
                    </a:lnTo>
                    <a:lnTo>
                      <a:pt x="1239" y="718"/>
                    </a:lnTo>
                    <a:lnTo>
                      <a:pt x="1239" y="718"/>
                    </a:lnTo>
                    <a:lnTo>
                      <a:pt x="1216" y="707"/>
                    </a:lnTo>
                    <a:lnTo>
                      <a:pt x="1191" y="697"/>
                    </a:lnTo>
                    <a:lnTo>
                      <a:pt x="1164" y="690"/>
                    </a:lnTo>
                    <a:lnTo>
                      <a:pt x="1139" y="683"/>
                    </a:lnTo>
                    <a:lnTo>
                      <a:pt x="1139" y="521"/>
                    </a:lnTo>
                    <a:lnTo>
                      <a:pt x="100" y="521"/>
                    </a:lnTo>
                    <a:lnTo>
                      <a:pt x="100" y="1117"/>
                    </a:lnTo>
                    <a:lnTo>
                      <a:pt x="674" y="1117"/>
                    </a:lnTo>
                    <a:lnTo>
                      <a:pt x="674" y="1117"/>
                    </a:lnTo>
                    <a:lnTo>
                      <a:pt x="678" y="1143"/>
                    </a:lnTo>
                    <a:lnTo>
                      <a:pt x="683" y="1168"/>
                    </a:lnTo>
                    <a:lnTo>
                      <a:pt x="690" y="1193"/>
                    </a:lnTo>
                    <a:lnTo>
                      <a:pt x="699" y="1217"/>
                    </a:lnTo>
                    <a:lnTo>
                      <a:pt x="95" y="1217"/>
                    </a:lnTo>
                    <a:lnTo>
                      <a:pt x="95" y="1217"/>
                    </a:lnTo>
                    <a:lnTo>
                      <a:pt x="85" y="1217"/>
                    </a:lnTo>
                    <a:lnTo>
                      <a:pt x="75" y="1215"/>
                    </a:lnTo>
                    <a:lnTo>
                      <a:pt x="67" y="1212"/>
                    </a:lnTo>
                    <a:lnTo>
                      <a:pt x="59" y="1210"/>
                    </a:lnTo>
                    <a:lnTo>
                      <a:pt x="50" y="1205"/>
                    </a:lnTo>
                    <a:lnTo>
                      <a:pt x="42" y="1201"/>
                    </a:lnTo>
                    <a:lnTo>
                      <a:pt x="35" y="1196"/>
                    </a:lnTo>
                    <a:lnTo>
                      <a:pt x="28" y="1189"/>
                    </a:lnTo>
                    <a:lnTo>
                      <a:pt x="28" y="1189"/>
                    </a:lnTo>
                    <a:lnTo>
                      <a:pt x="23" y="1182"/>
                    </a:lnTo>
                    <a:lnTo>
                      <a:pt x="17" y="1175"/>
                    </a:lnTo>
                    <a:lnTo>
                      <a:pt x="11" y="1168"/>
                    </a:lnTo>
                    <a:lnTo>
                      <a:pt x="9" y="1160"/>
                    </a:lnTo>
                    <a:lnTo>
                      <a:pt x="5" y="1150"/>
                    </a:lnTo>
                    <a:lnTo>
                      <a:pt x="3" y="1142"/>
                    </a:lnTo>
                    <a:lnTo>
                      <a:pt x="0" y="1132"/>
                    </a:lnTo>
                    <a:lnTo>
                      <a:pt x="0" y="1122"/>
                    </a:lnTo>
                    <a:lnTo>
                      <a:pt x="0" y="244"/>
                    </a:lnTo>
                    <a:lnTo>
                      <a:pt x="0" y="244"/>
                    </a:lnTo>
                    <a:lnTo>
                      <a:pt x="0" y="234"/>
                    </a:lnTo>
                    <a:lnTo>
                      <a:pt x="3" y="226"/>
                    </a:lnTo>
                    <a:lnTo>
                      <a:pt x="5" y="216"/>
                    </a:lnTo>
                    <a:lnTo>
                      <a:pt x="7" y="208"/>
                    </a:lnTo>
                    <a:lnTo>
                      <a:pt x="11" y="200"/>
                    </a:lnTo>
                    <a:lnTo>
                      <a:pt x="17" y="191"/>
                    </a:lnTo>
                    <a:lnTo>
                      <a:pt x="23" y="184"/>
                    </a:lnTo>
                    <a:lnTo>
                      <a:pt x="28" y="177"/>
                    </a:lnTo>
                    <a:lnTo>
                      <a:pt x="35" y="172"/>
                    </a:lnTo>
                    <a:lnTo>
                      <a:pt x="42" y="166"/>
                    </a:lnTo>
                    <a:lnTo>
                      <a:pt x="50" y="162"/>
                    </a:lnTo>
                    <a:lnTo>
                      <a:pt x="59" y="158"/>
                    </a:lnTo>
                    <a:lnTo>
                      <a:pt x="67" y="154"/>
                    </a:lnTo>
                    <a:lnTo>
                      <a:pt x="75" y="153"/>
                    </a:lnTo>
                    <a:lnTo>
                      <a:pt x="85" y="151"/>
                    </a:lnTo>
                    <a:lnTo>
                      <a:pt x="95" y="150"/>
                    </a:lnTo>
                    <a:lnTo>
                      <a:pt x="95" y="150"/>
                    </a:lnTo>
                    <a:close/>
                    <a:moveTo>
                      <a:pt x="638" y="294"/>
                    </a:moveTo>
                    <a:lnTo>
                      <a:pt x="638" y="294"/>
                    </a:lnTo>
                    <a:lnTo>
                      <a:pt x="636" y="305"/>
                    </a:lnTo>
                    <a:lnTo>
                      <a:pt x="634" y="315"/>
                    </a:lnTo>
                    <a:lnTo>
                      <a:pt x="628" y="324"/>
                    </a:lnTo>
                    <a:lnTo>
                      <a:pt x="621" y="333"/>
                    </a:lnTo>
                    <a:lnTo>
                      <a:pt x="613" y="340"/>
                    </a:lnTo>
                    <a:lnTo>
                      <a:pt x="605" y="345"/>
                    </a:lnTo>
                    <a:lnTo>
                      <a:pt x="593" y="348"/>
                    </a:lnTo>
                    <a:lnTo>
                      <a:pt x="582" y="349"/>
                    </a:lnTo>
                    <a:lnTo>
                      <a:pt x="582" y="349"/>
                    </a:lnTo>
                    <a:lnTo>
                      <a:pt x="571" y="348"/>
                    </a:lnTo>
                    <a:lnTo>
                      <a:pt x="560" y="345"/>
                    </a:lnTo>
                    <a:lnTo>
                      <a:pt x="552" y="340"/>
                    </a:lnTo>
                    <a:lnTo>
                      <a:pt x="544" y="333"/>
                    </a:lnTo>
                    <a:lnTo>
                      <a:pt x="537" y="324"/>
                    </a:lnTo>
                    <a:lnTo>
                      <a:pt x="531" y="315"/>
                    </a:lnTo>
                    <a:lnTo>
                      <a:pt x="528" y="305"/>
                    </a:lnTo>
                    <a:lnTo>
                      <a:pt x="527" y="294"/>
                    </a:lnTo>
                    <a:lnTo>
                      <a:pt x="527" y="249"/>
                    </a:lnTo>
                    <a:lnTo>
                      <a:pt x="376" y="249"/>
                    </a:lnTo>
                    <a:lnTo>
                      <a:pt x="377" y="150"/>
                    </a:lnTo>
                    <a:lnTo>
                      <a:pt x="527" y="150"/>
                    </a:lnTo>
                    <a:lnTo>
                      <a:pt x="527" y="56"/>
                    </a:lnTo>
                    <a:lnTo>
                      <a:pt x="527" y="56"/>
                    </a:lnTo>
                    <a:lnTo>
                      <a:pt x="528" y="44"/>
                    </a:lnTo>
                    <a:lnTo>
                      <a:pt x="531" y="33"/>
                    </a:lnTo>
                    <a:lnTo>
                      <a:pt x="537" y="24"/>
                    </a:lnTo>
                    <a:lnTo>
                      <a:pt x="544" y="17"/>
                    </a:lnTo>
                    <a:lnTo>
                      <a:pt x="552" y="10"/>
                    </a:lnTo>
                    <a:lnTo>
                      <a:pt x="560" y="4"/>
                    </a:lnTo>
                    <a:lnTo>
                      <a:pt x="571" y="1"/>
                    </a:lnTo>
                    <a:lnTo>
                      <a:pt x="582" y="0"/>
                    </a:lnTo>
                    <a:lnTo>
                      <a:pt x="582" y="0"/>
                    </a:lnTo>
                    <a:lnTo>
                      <a:pt x="593" y="1"/>
                    </a:lnTo>
                    <a:lnTo>
                      <a:pt x="605" y="4"/>
                    </a:lnTo>
                    <a:lnTo>
                      <a:pt x="613" y="10"/>
                    </a:lnTo>
                    <a:lnTo>
                      <a:pt x="621" y="17"/>
                    </a:lnTo>
                    <a:lnTo>
                      <a:pt x="628" y="24"/>
                    </a:lnTo>
                    <a:lnTo>
                      <a:pt x="634" y="33"/>
                    </a:lnTo>
                    <a:lnTo>
                      <a:pt x="636" y="44"/>
                    </a:lnTo>
                    <a:lnTo>
                      <a:pt x="638" y="56"/>
                    </a:lnTo>
                    <a:lnTo>
                      <a:pt x="638" y="294"/>
                    </a:lnTo>
                    <a:lnTo>
                      <a:pt x="638" y="294"/>
                    </a:lnTo>
                    <a:close/>
                    <a:moveTo>
                      <a:pt x="965" y="294"/>
                    </a:moveTo>
                    <a:lnTo>
                      <a:pt x="965" y="294"/>
                    </a:lnTo>
                    <a:lnTo>
                      <a:pt x="963" y="305"/>
                    </a:lnTo>
                    <a:lnTo>
                      <a:pt x="961" y="316"/>
                    </a:lnTo>
                    <a:lnTo>
                      <a:pt x="955" y="326"/>
                    </a:lnTo>
                    <a:lnTo>
                      <a:pt x="948" y="333"/>
                    </a:lnTo>
                    <a:lnTo>
                      <a:pt x="940" y="340"/>
                    </a:lnTo>
                    <a:lnTo>
                      <a:pt x="930" y="345"/>
                    </a:lnTo>
                    <a:lnTo>
                      <a:pt x="920" y="348"/>
                    </a:lnTo>
                    <a:lnTo>
                      <a:pt x="909" y="349"/>
                    </a:lnTo>
                    <a:lnTo>
                      <a:pt x="909" y="349"/>
                    </a:lnTo>
                    <a:lnTo>
                      <a:pt x="898" y="348"/>
                    </a:lnTo>
                    <a:lnTo>
                      <a:pt x="887" y="345"/>
                    </a:lnTo>
                    <a:lnTo>
                      <a:pt x="877" y="340"/>
                    </a:lnTo>
                    <a:lnTo>
                      <a:pt x="871" y="333"/>
                    </a:lnTo>
                    <a:lnTo>
                      <a:pt x="864" y="326"/>
                    </a:lnTo>
                    <a:lnTo>
                      <a:pt x="858" y="316"/>
                    </a:lnTo>
                    <a:lnTo>
                      <a:pt x="855" y="305"/>
                    </a:lnTo>
                    <a:lnTo>
                      <a:pt x="854" y="294"/>
                    </a:lnTo>
                    <a:lnTo>
                      <a:pt x="854" y="249"/>
                    </a:lnTo>
                    <a:lnTo>
                      <a:pt x="704" y="249"/>
                    </a:lnTo>
                    <a:lnTo>
                      <a:pt x="704" y="150"/>
                    </a:lnTo>
                    <a:lnTo>
                      <a:pt x="854" y="150"/>
                    </a:lnTo>
                    <a:lnTo>
                      <a:pt x="854" y="56"/>
                    </a:lnTo>
                    <a:lnTo>
                      <a:pt x="854" y="56"/>
                    </a:lnTo>
                    <a:lnTo>
                      <a:pt x="855" y="44"/>
                    </a:lnTo>
                    <a:lnTo>
                      <a:pt x="858" y="35"/>
                    </a:lnTo>
                    <a:lnTo>
                      <a:pt x="864" y="25"/>
                    </a:lnTo>
                    <a:lnTo>
                      <a:pt x="871" y="17"/>
                    </a:lnTo>
                    <a:lnTo>
                      <a:pt x="877" y="10"/>
                    </a:lnTo>
                    <a:lnTo>
                      <a:pt x="887" y="4"/>
                    </a:lnTo>
                    <a:lnTo>
                      <a:pt x="898" y="1"/>
                    </a:lnTo>
                    <a:lnTo>
                      <a:pt x="909" y="0"/>
                    </a:lnTo>
                    <a:lnTo>
                      <a:pt x="909" y="0"/>
                    </a:lnTo>
                    <a:lnTo>
                      <a:pt x="920" y="1"/>
                    </a:lnTo>
                    <a:lnTo>
                      <a:pt x="930" y="4"/>
                    </a:lnTo>
                    <a:lnTo>
                      <a:pt x="940" y="10"/>
                    </a:lnTo>
                    <a:lnTo>
                      <a:pt x="948" y="17"/>
                    </a:lnTo>
                    <a:lnTo>
                      <a:pt x="955" y="25"/>
                    </a:lnTo>
                    <a:lnTo>
                      <a:pt x="961" y="35"/>
                    </a:lnTo>
                    <a:lnTo>
                      <a:pt x="963" y="44"/>
                    </a:lnTo>
                    <a:lnTo>
                      <a:pt x="965" y="56"/>
                    </a:lnTo>
                    <a:lnTo>
                      <a:pt x="965" y="294"/>
                    </a:lnTo>
                    <a:lnTo>
                      <a:pt x="965" y="29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9" name="Freeform 151">
                <a:extLst>
                  <a:ext uri="{FF2B5EF4-FFF2-40B4-BE49-F238E27FC236}">
                    <a16:creationId xmlns:a16="http://schemas.microsoft.com/office/drawing/2014/main" id="{C2FC3064-72FE-459B-A79F-DA5CB24FE105}"/>
                  </a:ext>
                </a:extLst>
              </p:cNvPr>
              <p:cNvSpPr>
                <a:spLocks noEditPoints="1"/>
              </p:cNvSpPr>
              <p:nvPr/>
            </p:nvSpPr>
            <p:spPr bwMode="auto">
              <a:xfrm>
                <a:off x="-4476750" y="4484688"/>
                <a:ext cx="579437" cy="246063"/>
              </a:xfrm>
              <a:custGeom>
                <a:avLst/>
                <a:gdLst/>
                <a:ahLst/>
                <a:cxnLst>
                  <a:cxn ang="0">
                    <a:pos x="153" y="2"/>
                  </a:cxn>
                  <a:cxn ang="0">
                    <a:pos x="172" y="14"/>
                  </a:cxn>
                  <a:cxn ang="0">
                    <a:pos x="178" y="80"/>
                  </a:cxn>
                  <a:cxn ang="0">
                    <a:pos x="172" y="98"/>
                  </a:cxn>
                  <a:cxn ang="0">
                    <a:pos x="153" y="111"/>
                  </a:cxn>
                  <a:cxn ang="0">
                    <a:pos x="24" y="111"/>
                  </a:cxn>
                  <a:cxn ang="0">
                    <a:pos x="6" y="98"/>
                  </a:cxn>
                  <a:cxn ang="0">
                    <a:pos x="0" y="31"/>
                  </a:cxn>
                  <a:cxn ang="0">
                    <a:pos x="6" y="14"/>
                  </a:cxn>
                  <a:cxn ang="0">
                    <a:pos x="24" y="2"/>
                  </a:cxn>
                  <a:cxn ang="0">
                    <a:pos x="427" y="200"/>
                  </a:cxn>
                  <a:cxn ang="0">
                    <a:pos x="442" y="205"/>
                  </a:cxn>
                  <a:cxn ang="0">
                    <a:pos x="453" y="222"/>
                  </a:cxn>
                  <a:cxn ang="0">
                    <a:pos x="447" y="254"/>
                  </a:cxn>
                  <a:cxn ang="0">
                    <a:pos x="427" y="310"/>
                  </a:cxn>
                  <a:cxn ang="0">
                    <a:pos x="294" y="309"/>
                  </a:cxn>
                  <a:cxn ang="0">
                    <a:pos x="279" y="294"/>
                  </a:cxn>
                  <a:cxn ang="0">
                    <a:pos x="277" y="227"/>
                  </a:cxn>
                  <a:cxn ang="0">
                    <a:pos x="286" y="208"/>
                  </a:cxn>
                  <a:cxn ang="0">
                    <a:pos x="305" y="200"/>
                  </a:cxn>
                  <a:cxn ang="0">
                    <a:pos x="150" y="200"/>
                  </a:cxn>
                  <a:cxn ang="0">
                    <a:pos x="169" y="208"/>
                  </a:cxn>
                  <a:cxn ang="0">
                    <a:pos x="178" y="227"/>
                  </a:cxn>
                  <a:cxn ang="0">
                    <a:pos x="175" y="294"/>
                  </a:cxn>
                  <a:cxn ang="0">
                    <a:pos x="161" y="309"/>
                  </a:cxn>
                  <a:cxn ang="0">
                    <a:pos x="28" y="310"/>
                  </a:cxn>
                  <a:cxn ang="0">
                    <a:pos x="9" y="304"/>
                  </a:cxn>
                  <a:cxn ang="0">
                    <a:pos x="0" y="283"/>
                  </a:cxn>
                  <a:cxn ang="0">
                    <a:pos x="2" y="218"/>
                  </a:cxn>
                  <a:cxn ang="0">
                    <a:pos x="17" y="202"/>
                  </a:cxn>
                  <a:cxn ang="0">
                    <a:pos x="582" y="0"/>
                  </a:cxn>
                  <a:cxn ang="0">
                    <a:pos x="721" y="6"/>
                  </a:cxn>
                  <a:cxn ang="0">
                    <a:pos x="707" y="25"/>
                  </a:cxn>
                  <a:cxn ang="0">
                    <a:pos x="620" y="60"/>
                  </a:cxn>
                  <a:cxn ang="0">
                    <a:pos x="560" y="100"/>
                  </a:cxn>
                  <a:cxn ang="0">
                    <a:pos x="555" y="28"/>
                  </a:cxn>
                  <a:cxn ang="0">
                    <a:pos x="563" y="8"/>
                  </a:cxn>
                  <a:cxn ang="0">
                    <a:pos x="582" y="0"/>
                  </a:cxn>
                  <a:cxn ang="0">
                    <a:pos x="427" y="0"/>
                  </a:cxn>
                  <a:cxn ang="0">
                    <a:pos x="447" y="8"/>
                  </a:cxn>
                  <a:cxn ang="0">
                    <a:pos x="455" y="28"/>
                  </a:cxn>
                  <a:cxn ang="0">
                    <a:pos x="452" y="94"/>
                  </a:cxn>
                  <a:cxn ang="0">
                    <a:pos x="438" y="110"/>
                  </a:cxn>
                  <a:cxn ang="0">
                    <a:pos x="305" y="111"/>
                  </a:cxn>
                  <a:cxn ang="0">
                    <a:pos x="286" y="103"/>
                  </a:cxn>
                  <a:cxn ang="0">
                    <a:pos x="277" y="83"/>
                  </a:cxn>
                  <a:cxn ang="0">
                    <a:pos x="279" y="17"/>
                  </a:cxn>
                  <a:cxn ang="0">
                    <a:pos x="294" y="3"/>
                  </a:cxn>
                </a:cxnLst>
                <a:rect l="0" t="0" r="r" b="b"/>
                <a:pathLst>
                  <a:path w="731" h="310">
                    <a:moveTo>
                      <a:pt x="31" y="0"/>
                    </a:moveTo>
                    <a:lnTo>
                      <a:pt x="147" y="0"/>
                    </a:lnTo>
                    <a:lnTo>
                      <a:pt x="147" y="0"/>
                    </a:lnTo>
                    <a:lnTo>
                      <a:pt x="153" y="2"/>
                    </a:lnTo>
                    <a:lnTo>
                      <a:pt x="158" y="3"/>
                    </a:lnTo>
                    <a:lnTo>
                      <a:pt x="164" y="6"/>
                    </a:lnTo>
                    <a:lnTo>
                      <a:pt x="168" y="10"/>
                    </a:lnTo>
                    <a:lnTo>
                      <a:pt x="172" y="14"/>
                    </a:lnTo>
                    <a:lnTo>
                      <a:pt x="175" y="20"/>
                    </a:lnTo>
                    <a:lnTo>
                      <a:pt x="176" y="25"/>
                    </a:lnTo>
                    <a:lnTo>
                      <a:pt x="178" y="31"/>
                    </a:lnTo>
                    <a:lnTo>
                      <a:pt x="178" y="80"/>
                    </a:lnTo>
                    <a:lnTo>
                      <a:pt x="178" y="80"/>
                    </a:lnTo>
                    <a:lnTo>
                      <a:pt x="176" y="87"/>
                    </a:lnTo>
                    <a:lnTo>
                      <a:pt x="175" y="93"/>
                    </a:lnTo>
                    <a:lnTo>
                      <a:pt x="172" y="98"/>
                    </a:lnTo>
                    <a:lnTo>
                      <a:pt x="168" y="103"/>
                    </a:lnTo>
                    <a:lnTo>
                      <a:pt x="164" y="105"/>
                    </a:lnTo>
                    <a:lnTo>
                      <a:pt x="158" y="108"/>
                    </a:lnTo>
                    <a:lnTo>
                      <a:pt x="153" y="111"/>
                    </a:lnTo>
                    <a:lnTo>
                      <a:pt x="147" y="111"/>
                    </a:lnTo>
                    <a:lnTo>
                      <a:pt x="31" y="111"/>
                    </a:lnTo>
                    <a:lnTo>
                      <a:pt x="31" y="111"/>
                    </a:lnTo>
                    <a:lnTo>
                      <a:pt x="24" y="111"/>
                    </a:lnTo>
                    <a:lnTo>
                      <a:pt x="18" y="108"/>
                    </a:lnTo>
                    <a:lnTo>
                      <a:pt x="14" y="105"/>
                    </a:lnTo>
                    <a:lnTo>
                      <a:pt x="9" y="103"/>
                    </a:lnTo>
                    <a:lnTo>
                      <a:pt x="6" y="98"/>
                    </a:lnTo>
                    <a:lnTo>
                      <a:pt x="3" y="93"/>
                    </a:lnTo>
                    <a:lnTo>
                      <a:pt x="0" y="87"/>
                    </a:lnTo>
                    <a:lnTo>
                      <a:pt x="0" y="80"/>
                    </a:lnTo>
                    <a:lnTo>
                      <a:pt x="0" y="31"/>
                    </a:lnTo>
                    <a:lnTo>
                      <a:pt x="0" y="31"/>
                    </a:lnTo>
                    <a:lnTo>
                      <a:pt x="0" y="25"/>
                    </a:lnTo>
                    <a:lnTo>
                      <a:pt x="3" y="20"/>
                    </a:lnTo>
                    <a:lnTo>
                      <a:pt x="6" y="14"/>
                    </a:lnTo>
                    <a:lnTo>
                      <a:pt x="9" y="10"/>
                    </a:lnTo>
                    <a:lnTo>
                      <a:pt x="14" y="6"/>
                    </a:lnTo>
                    <a:lnTo>
                      <a:pt x="18" y="3"/>
                    </a:lnTo>
                    <a:lnTo>
                      <a:pt x="24" y="2"/>
                    </a:lnTo>
                    <a:lnTo>
                      <a:pt x="31" y="0"/>
                    </a:lnTo>
                    <a:lnTo>
                      <a:pt x="31" y="0"/>
                    </a:lnTo>
                    <a:close/>
                    <a:moveTo>
                      <a:pt x="305" y="200"/>
                    </a:moveTo>
                    <a:lnTo>
                      <a:pt x="427" y="200"/>
                    </a:lnTo>
                    <a:lnTo>
                      <a:pt x="427" y="200"/>
                    </a:lnTo>
                    <a:lnTo>
                      <a:pt x="433" y="201"/>
                    </a:lnTo>
                    <a:lnTo>
                      <a:pt x="438" y="202"/>
                    </a:lnTo>
                    <a:lnTo>
                      <a:pt x="442" y="205"/>
                    </a:lnTo>
                    <a:lnTo>
                      <a:pt x="447" y="208"/>
                    </a:lnTo>
                    <a:lnTo>
                      <a:pt x="449" y="212"/>
                    </a:lnTo>
                    <a:lnTo>
                      <a:pt x="452" y="218"/>
                    </a:lnTo>
                    <a:lnTo>
                      <a:pt x="453" y="222"/>
                    </a:lnTo>
                    <a:lnTo>
                      <a:pt x="455" y="227"/>
                    </a:lnTo>
                    <a:lnTo>
                      <a:pt x="455" y="234"/>
                    </a:lnTo>
                    <a:lnTo>
                      <a:pt x="455" y="234"/>
                    </a:lnTo>
                    <a:lnTo>
                      <a:pt x="447" y="254"/>
                    </a:lnTo>
                    <a:lnTo>
                      <a:pt x="438" y="272"/>
                    </a:lnTo>
                    <a:lnTo>
                      <a:pt x="433" y="291"/>
                    </a:lnTo>
                    <a:lnTo>
                      <a:pt x="427" y="310"/>
                    </a:lnTo>
                    <a:lnTo>
                      <a:pt x="427" y="310"/>
                    </a:lnTo>
                    <a:lnTo>
                      <a:pt x="305" y="310"/>
                    </a:lnTo>
                    <a:lnTo>
                      <a:pt x="305" y="310"/>
                    </a:lnTo>
                    <a:lnTo>
                      <a:pt x="300" y="310"/>
                    </a:lnTo>
                    <a:lnTo>
                      <a:pt x="294" y="309"/>
                    </a:lnTo>
                    <a:lnTo>
                      <a:pt x="290" y="306"/>
                    </a:lnTo>
                    <a:lnTo>
                      <a:pt x="286" y="304"/>
                    </a:lnTo>
                    <a:lnTo>
                      <a:pt x="282" y="299"/>
                    </a:lnTo>
                    <a:lnTo>
                      <a:pt x="279" y="294"/>
                    </a:lnTo>
                    <a:lnTo>
                      <a:pt x="277" y="288"/>
                    </a:lnTo>
                    <a:lnTo>
                      <a:pt x="277" y="283"/>
                    </a:lnTo>
                    <a:lnTo>
                      <a:pt x="277" y="227"/>
                    </a:lnTo>
                    <a:lnTo>
                      <a:pt x="277" y="227"/>
                    </a:lnTo>
                    <a:lnTo>
                      <a:pt x="277" y="222"/>
                    </a:lnTo>
                    <a:lnTo>
                      <a:pt x="279" y="218"/>
                    </a:lnTo>
                    <a:lnTo>
                      <a:pt x="282" y="212"/>
                    </a:lnTo>
                    <a:lnTo>
                      <a:pt x="286" y="208"/>
                    </a:lnTo>
                    <a:lnTo>
                      <a:pt x="290" y="205"/>
                    </a:lnTo>
                    <a:lnTo>
                      <a:pt x="294" y="202"/>
                    </a:lnTo>
                    <a:lnTo>
                      <a:pt x="300" y="201"/>
                    </a:lnTo>
                    <a:lnTo>
                      <a:pt x="305" y="200"/>
                    </a:lnTo>
                    <a:lnTo>
                      <a:pt x="305" y="200"/>
                    </a:lnTo>
                    <a:close/>
                    <a:moveTo>
                      <a:pt x="28" y="200"/>
                    </a:moveTo>
                    <a:lnTo>
                      <a:pt x="150" y="200"/>
                    </a:lnTo>
                    <a:lnTo>
                      <a:pt x="150" y="200"/>
                    </a:lnTo>
                    <a:lnTo>
                      <a:pt x="156" y="201"/>
                    </a:lnTo>
                    <a:lnTo>
                      <a:pt x="161" y="202"/>
                    </a:lnTo>
                    <a:lnTo>
                      <a:pt x="165" y="205"/>
                    </a:lnTo>
                    <a:lnTo>
                      <a:pt x="169" y="208"/>
                    </a:lnTo>
                    <a:lnTo>
                      <a:pt x="172" y="212"/>
                    </a:lnTo>
                    <a:lnTo>
                      <a:pt x="175" y="218"/>
                    </a:lnTo>
                    <a:lnTo>
                      <a:pt x="176" y="222"/>
                    </a:lnTo>
                    <a:lnTo>
                      <a:pt x="178" y="227"/>
                    </a:lnTo>
                    <a:lnTo>
                      <a:pt x="178" y="283"/>
                    </a:lnTo>
                    <a:lnTo>
                      <a:pt x="178" y="283"/>
                    </a:lnTo>
                    <a:lnTo>
                      <a:pt x="176" y="288"/>
                    </a:lnTo>
                    <a:lnTo>
                      <a:pt x="175" y="294"/>
                    </a:lnTo>
                    <a:lnTo>
                      <a:pt x="172" y="299"/>
                    </a:lnTo>
                    <a:lnTo>
                      <a:pt x="169" y="304"/>
                    </a:lnTo>
                    <a:lnTo>
                      <a:pt x="165" y="306"/>
                    </a:lnTo>
                    <a:lnTo>
                      <a:pt x="161" y="309"/>
                    </a:lnTo>
                    <a:lnTo>
                      <a:pt x="156" y="310"/>
                    </a:lnTo>
                    <a:lnTo>
                      <a:pt x="150" y="310"/>
                    </a:lnTo>
                    <a:lnTo>
                      <a:pt x="28" y="310"/>
                    </a:lnTo>
                    <a:lnTo>
                      <a:pt x="28" y="310"/>
                    </a:lnTo>
                    <a:lnTo>
                      <a:pt x="23" y="310"/>
                    </a:lnTo>
                    <a:lnTo>
                      <a:pt x="17" y="309"/>
                    </a:lnTo>
                    <a:lnTo>
                      <a:pt x="13" y="306"/>
                    </a:lnTo>
                    <a:lnTo>
                      <a:pt x="9" y="304"/>
                    </a:lnTo>
                    <a:lnTo>
                      <a:pt x="4" y="299"/>
                    </a:lnTo>
                    <a:lnTo>
                      <a:pt x="2" y="294"/>
                    </a:lnTo>
                    <a:lnTo>
                      <a:pt x="0" y="288"/>
                    </a:lnTo>
                    <a:lnTo>
                      <a:pt x="0" y="283"/>
                    </a:lnTo>
                    <a:lnTo>
                      <a:pt x="0" y="227"/>
                    </a:lnTo>
                    <a:lnTo>
                      <a:pt x="0" y="227"/>
                    </a:lnTo>
                    <a:lnTo>
                      <a:pt x="0" y="222"/>
                    </a:lnTo>
                    <a:lnTo>
                      <a:pt x="2" y="218"/>
                    </a:lnTo>
                    <a:lnTo>
                      <a:pt x="4" y="212"/>
                    </a:lnTo>
                    <a:lnTo>
                      <a:pt x="9" y="208"/>
                    </a:lnTo>
                    <a:lnTo>
                      <a:pt x="13" y="205"/>
                    </a:lnTo>
                    <a:lnTo>
                      <a:pt x="17" y="202"/>
                    </a:lnTo>
                    <a:lnTo>
                      <a:pt x="23" y="201"/>
                    </a:lnTo>
                    <a:lnTo>
                      <a:pt x="28" y="200"/>
                    </a:lnTo>
                    <a:lnTo>
                      <a:pt x="28" y="200"/>
                    </a:lnTo>
                    <a:close/>
                    <a:moveTo>
                      <a:pt x="582" y="0"/>
                    </a:moveTo>
                    <a:lnTo>
                      <a:pt x="704" y="0"/>
                    </a:lnTo>
                    <a:lnTo>
                      <a:pt x="704" y="0"/>
                    </a:lnTo>
                    <a:lnTo>
                      <a:pt x="713" y="2"/>
                    </a:lnTo>
                    <a:lnTo>
                      <a:pt x="721" y="6"/>
                    </a:lnTo>
                    <a:lnTo>
                      <a:pt x="726" y="11"/>
                    </a:lnTo>
                    <a:lnTo>
                      <a:pt x="731" y="20"/>
                    </a:lnTo>
                    <a:lnTo>
                      <a:pt x="731" y="20"/>
                    </a:lnTo>
                    <a:lnTo>
                      <a:pt x="707" y="25"/>
                    </a:lnTo>
                    <a:lnTo>
                      <a:pt x="685" y="32"/>
                    </a:lnTo>
                    <a:lnTo>
                      <a:pt x="663" y="40"/>
                    </a:lnTo>
                    <a:lnTo>
                      <a:pt x="640" y="50"/>
                    </a:lnTo>
                    <a:lnTo>
                      <a:pt x="620" y="60"/>
                    </a:lnTo>
                    <a:lnTo>
                      <a:pt x="599" y="72"/>
                    </a:lnTo>
                    <a:lnTo>
                      <a:pt x="580" y="86"/>
                    </a:lnTo>
                    <a:lnTo>
                      <a:pt x="560" y="100"/>
                    </a:lnTo>
                    <a:lnTo>
                      <a:pt x="560" y="100"/>
                    </a:lnTo>
                    <a:lnTo>
                      <a:pt x="556" y="93"/>
                    </a:lnTo>
                    <a:lnTo>
                      <a:pt x="555" y="83"/>
                    </a:lnTo>
                    <a:lnTo>
                      <a:pt x="555" y="28"/>
                    </a:lnTo>
                    <a:lnTo>
                      <a:pt x="555" y="28"/>
                    </a:lnTo>
                    <a:lnTo>
                      <a:pt x="555" y="22"/>
                    </a:lnTo>
                    <a:lnTo>
                      <a:pt x="556" y="17"/>
                    </a:lnTo>
                    <a:lnTo>
                      <a:pt x="559" y="13"/>
                    </a:lnTo>
                    <a:lnTo>
                      <a:pt x="563" y="8"/>
                    </a:lnTo>
                    <a:lnTo>
                      <a:pt x="567" y="6"/>
                    </a:lnTo>
                    <a:lnTo>
                      <a:pt x="571" y="3"/>
                    </a:lnTo>
                    <a:lnTo>
                      <a:pt x="577" y="2"/>
                    </a:lnTo>
                    <a:lnTo>
                      <a:pt x="582" y="0"/>
                    </a:lnTo>
                    <a:lnTo>
                      <a:pt x="582" y="0"/>
                    </a:lnTo>
                    <a:close/>
                    <a:moveTo>
                      <a:pt x="305" y="0"/>
                    </a:moveTo>
                    <a:lnTo>
                      <a:pt x="427" y="0"/>
                    </a:lnTo>
                    <a:lnTo>
                      <a:pt x="427" y="0"/>
                    </a:lnTo>
                    <a:lnTo>
                      <a:pt x="433" y="2"/>
                    </a:lnTo>
                    <a:lnTo>
                      <a:pt x="438" y="3"/>
                    </a:lnTo>
                    <a:lnTo>
                      <a:pt x="442" y="6"/>
                    </a:lnTo>
                    <a:lnTo>
                      <a:pt x="447" y="8"/>
                    </a:lnTo>
                    <a:lnTo>
                      <a:pt x="449" y="13"/>
                    </a:lnTo>
                    <a:lnTo>
                      <a:pt x="452" y="17"/>
                    </a:lnTo>
                    <a:lnTo>
                      <a:pt x="453" y="22"/>
                    </a:lnTo>
                    <a:lnTo>
                      <a:pt x="455" y="28"/>
                    </a:lnTo>
                    <a:lnTo>
                      <a:pt x="455" y="83"/>
                    </a:lnTo>
                    <a:lnTo>
                      <a:pt x="455" y="83"/>
                    </a:lnTo>
                    <a:lnTo>
                      <a:pt x="453" y="89"/>
                    </a:lnTo>
                    <a:lnTo>
                      <a:pt x="452" y="94"/>
                    </a:lnTo>
                    <a:lnTo>
                      <a:pt x="449" y="98"/>
                    </a:lnTo>
                    <a:lnTo>
                      <a:pt x="447" y="103"/>
                    </a:lnTo>
                    <a:lnTo>
                      <a:pt x="442" y="107"/>
                    </a:lnTo>
                    <a:lnTo>
                      <a:pt x="438" y="110"/>
                    </a:lnTo>
                    <a:lnTo>
                      <a:pt x="433" y="111"/>
                    </a:lnTo>
                    <a:lnTo>
                      <a:pt x="427" y="111"/>
                    </a:lnTo>
                    <a:lnTo>
                      <a:pt x="305" y="111"/>
                    </a:lnTo>
                    <a:lnTo>
                      <a:pt x="305" y="111"/>
                    </a:lnTo>
                    <a:lnTo>
                      <a:pt x="300" y="111"/>
                    </a:lnTo>
                    <a:lnTo>
                      <a:pt x="294" y="110"/>
                    </a:lnTo>
                    <a:lnTo>
                      <a:pt x="290" y="107"/>
                    </a:lnTo>
                    <a:lnTo>
                      <a:pt x="286" y="103"/>
                    </a:lnTo>
                    <a:lnTo>
                      <a:pt x="282" y="98"/>
                    </a:lnTo>
                    <a:lnTo>
                      <a:pt x="279" y="94"/>
                    </a:lnTo>
                    <a:lnTo>
                      <a:pt x="277" y="89"/>
                    </a:lnTo>
                    <a:lnTo>
                      <a:pt x="277" y="83"/>
                    </a:lnTo>
                    <a:lnTo>
                      <a:pt x="277" y="28"/>
                    </a:lnTo>
                    <a:lnTo>
                      <a:pt x="277" y="28"/>
                    </a:lnTo>
                    <a:lnTo>
                      <a:pt x="277" y="22"/>
                    </a:lnTo>
                    <a:lnTo>
                      <a:pt x="279" y="17"/>
                    </a:lnTo>
                    <a:lnTo>
                      <a:pt x="282" y="13"/>
                    </a:lnTo>
                    <a:lnTo>
                      <a:pt x="286" y="8"/>
                    </a:lnTo>
                    <a:lnTo>
                      <a:pt x="290" y="6"/>
                    </a:lnTo>
                    <a:lnTo>
                      <a:pt x="294" y="3"/>
                    </a:lnTo>
                    <a:lnTo>
                      <a:pt x="300" y="2"/>
                    </a:lnTo>
                    <a:lnTo>
                      <a:pt x="305" y="0"/>
                    </a:lnTo>
                    <a:lnTo>
                      <a:pt x="305"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0" name="Freeform 152">
                <a:extLst>
                  <a:ext uri="{FF2B5EF4-FFF2-40B4-BE49-F238E27FC236}">
                    <a16:creationId xmlns:a16="http://schemas.microsoft.com/office/drawing/2014/main" id="{A04CE924-E074-4AEA-A44E-1E7470464A57}"/>
                  </a:ext>
                </a:extLst>
              </p:cNvPr>
              <p:cNvSpPr>
                <a:spLocks noEditPoints="1"/>
              </p:cNvSpPr>
              <p:nvPr/>
            </p:nvSpPr>
            <p:spPr bwMode="auto">
              <a:xfrm>
                <a:off x="-4106863" y="4532313"/>
                <a:ext cx="546100" cy="546100"/>
              </a:xfrm>
              <a:custGeom>
                <a:avLst/>
                <a:gdLst/>
                <a:ahLst/>
                <a:cxnLst>
                  <a:cxn ang="0">
                    <a:pos x="319" y="101"/>
                  </a:cxn>
                  <a:cxn ang="0">
                    <a:pos x="248" y="119"/>
                  </a:cxn>
                  <a:cxn ang="0">
                    <a:pos x="188" y="155"/>
                  </a:cxn>
                  <a:cxn ang="0">
                    <a:pos x="155" y="189"/>
                  </a:cxn>
                  <a:cxn ang="0">
                    <a:pos x="119" y="249"/>
                  </a:cxn>
                  <a:cxn ang="0">
                    <a:pos x="101" y="319"/>
                  </a:cxn>
                  <a:cxn ang="0">
                    <a:pos x="101" y="369"/>
                  </a:cxn>
                  <a:cxn ang="0">
                    <a:pos x="119" y="439"/>
                  </a:cxn>
                  <a:cxn ang="0">
                    <a:pos x="155" y="499"/>
                  </a:cxn>
                  <a:cxn ang="0">
                    <a:pos x="188" y="532"/>
                  </a:cxn>
                  <a:cxn ang="0">
                    <a:pos x="248" y="568"/>
                  </a:cxn>
                  <a:cxn ang="0">
                    <a:pos x="319" y="586"/>
                  </a:cxn>
                  <a:cxn ang="0">
                    <a:pos x="368" y="586"/>
                  </a:cxn>
                  <a:cxn ang="0">
                    <a:pos x="438" y="568"/>
                  </a:cxn>
                  <a:cxn ang="0">
                    <a:pos x="499" y="532"/>
                  </a:cxn>
                  <a:cxn ang="0">
                    <a:pos x="532" y="499"/>
                  </a:cxn>
                  <a:cxn ang="0">
                    <a:pos x="568" y="439"/>
                  </a:cxn>
                  <a:cxn ang="0">
                    <a:pos x="586" y="369"/>
                  </a:cxn>
                  <a:cxn ang="0">
                    <a:pos x="586" y="319"/>
                  </a:cxn>
                  <a:cxn ang="0">
                    <a:pos x="568" y="249"/>
                  </a:cxn>
                  <a:cxn ang="0">
                    <a:pos x="532" y="189"/>
                  </a:cxn>
                  <a:cxn ang="0">
                    <a:pos x="499" y="155"/>
                  </a:cxn>
                  <a:cxn ang="0">
                    <a:pos x="438" y="119"/>
                  </a:cxn>
                  <a:cxn ang="0">
                    <a:pos x="368" y="101"/>
                  </a:cxn>
                  <a:cxn ang="0">
                    <a:pos x="101" y="101"/>
                  </a:cxn>
                  <a:cxn ang="0">
                    <a:pos x="151" y="60"/>
                  </a:cxn>
                  <a:cxn ang="0">
                    <a:pos x="226" y="21"/>
                  </a:cxn>
                  <a:cxn ang="0">
                    <a:pos x="274" y="7"/>
                  </a:cxn>
                  <a:cxn ang="0">
                    <a:pos x="326" y="1"/>
                  </a:cxn>
                  <a:cxn ang="0">
                    <a:pos x="362" y="1"/>
                  </a:cxn>
                  <a:cxn ang="0">
                    <a:pos x="413" y="7"/>
                  </a:cxn>
                  <a:cxn ang="0">
                    <a:pos x="461" y="21"/>
                  </a:cxn>
                  <a:cxn ang="0">
                    <a:pos x="536" y="60"/>
                  </a:cxn>
                  <a:cxn ang="0">
                    <a:pos x="586" y="101"/>
                  </a:cxn>
                  <a:cxn ang="0">
                    <a:pos x="646" y="180"/>
                  </a:cxn>
                  <a:cxn ang="0">
                    <a:pos x="672" y="241"/>
                  </a:cxn>
                  <a:cxn ang="0">
                    <a:pos x="683" y="291"/>
                  </a:cxn>
                  <a:cxn ang="0">
                    <a:pos x="687" y="344"/>
                  </a:cxn>
                  <a:cxn ang="0">
                    <a:pos x="686" y="380"/>
                  </a:cxn>
                  <a:cxn ang="0">
                    <a:pos x="676" y="430"/>
                  </a:cxn>
                  <a:cxn ang="0">
                    <a:pos x="659" y="478"/>
                  </a:cxn>
                  <a:cxn ang="0">
                    <a:pos x="608" y="563"/>
                  </a:cxn>
                  <a:cxn ang="0">
                    <a:pos x="562" y="610"/>
                  </a:cxn>
                  <a:cxn ang="0">
                    <a:pos x="477" y="661"/>
                  </a:cxn>
                  <a:cxn ang="0">
                    <a:pos x="429" y="676"/>
                  </a:cxn>
                  <a:cxn ang="0">
                    <a:pos x="378" y="686"/>
                  </a:cxn>
                  <a:cxn ang="0">
                    <a:pos x="344" y="687"/>
                  </a:cxn>
                  <a:cxn ang="0">
                    <a:pos x="291" y="683"/>
                  </a:cxn>
                  <a:cxn ang="0">
                    <a:pos x="241" y="672"/>
                  </a:cxn>
                  <a:cxn ang="0">
                    <a:pos x="180" y="646"/>
                  </a:cxn>
                  <a:cxn ang="0">
                    <a:pos x="101" y="588"/>
                  </a:cxn>
                  <a:cxn ang="0">
                    <a:pos x="58" y="536"/>
                  </a:cxn>
                  <a:cxn ang="0">
                    <a:pos x="21" y="461"/>
                  </a:cxn>
                  <a:cxn ang="0">
                    <a:pos x="7" y="413"/>
                  </a:cxn>
                  <a:cxn ang="0">
                    <a:pos x="0" y="362"/>
                  </a:cxn>
                  <a:cxn ang="0">
                    <a:pos x="0" y="326"/>
                  </a:cxn>
                  <a:cxn ang="0">
                    <a:pos x="7" y="274"/>
                  </a:cxn>
                  <a:cxn ang="0">
                    <a:pos x="21" y="226"/>
                  </a:cxn>
                  <a:cxn ang="0">
                    <a:pos x="58" y="152"/>
                  </a:cxn>
                  <a:cxn ang="0">
                    <a:pos x="101" y="101"/>
                  </a:cxn>
                </a:cxnLst>
                <a:rect l="0" t="0" r="r" b="b"/>
                <a:pathLst>
                  <a:path w="687" h="687">
                    <a:moveTo>
                      <a:pt x="344" y="100"/>
                    </a:moveTo>
                    <a:lnTo>
                      <a:pt x="344" y="100"/>
                    </a:lnTo>
                    <a:lnTo>
                      <a:pt x="319" y="101"/>
                    </a:lnTo>
                    <a:lnTo>
                      <a:pt x="294" y="105"/>
                    </a:lnTo>
                    <a:lnTo>
                      <a:pt x="271" y="111"/>
                    </a:lnTo>
                    <a:lnTo>
                      <a:pt x="248" y="119"/>
                    </a:lnTo>
                    <a:lnTo>
                      <a:pt x="227" y="129"/>
                    </a:lnTo>
                    <a:lnTo>
                      <a:pt x="206" y="141"/>
                    </a:lnTo>
                    <a:lnTo>
                      <a:pt x="188" y="155"/>
                    </a:lnTo>
                    <a:lnTo>
                      <a:pt x="170" y="172"/>
                    </a:lnTo>
                    <a:lnTo>
                      <a:pt x="170" y="172"/>
                    </a:lnTo>
                    <a:lnTo>
                      <a:pt x="155" y="189"/>
                    </a:lnTo>
                    <a:lnTo>
                      <a:pt x="141" y="208"/>
                    </a:lnTo>
                    <a:lnTo>
                      <a:pt x="129" y="227"/>
                    </a:lnTo>
                    <a:lnTo>
                      <a:pt x="119" y="249"/>
                    </a:lnTo>
                    <a:lnTo>
                      <a:pt x="111" y="272"/>
                    </a:lnTo>
                    <a:lnTo>
                      <a:pt x="104" y="295"/>
                    </a:lnTo>
                    <a:lnTo>
                      <a:pt x="101" y="319"/>
                    </a:lnTo>
                    <a:lnTo>
                      <a:pt x="100" y="344"/>
                    </a:lnTo>
                    <a:lnTo>
                      <a:pt x="100" y="344"/>
                    </a:lnTo>
                    <a:lnTo>
                      <a:pt x="101" y="369"/>
                    </a:lnTo>
                    <a:lnTo>
                      <a:pt x="104" y="394"/>
                    </a:lnTo>
                    <a:lnTo>
                      <a:pt x="111" y="417"/>
                    </a:lnTo>
                    <a:lnTo>
                      <a:pt x="119" y="439"/>
                    </a:lnTo>
                    <a:lnTo>
                      <a:pt x="129" y="460"/>
                    </a:lnTo>
                    <a:lnTo>
                      <a:pt x="141" y="481"/>
                    </a:lnTo>
                    <a:lnTo>
                      <a:pt x="155" y="499"/>
                    </a:lnTo>
                    <a:lnTo>
                      <a:pt x="170" y="517"/>
                    </a:lnTo>
                    <a:lnTo>
                      <a:pt x="170" y="517"/>
                    </a:lnTo>
                    <a:lnTo>
                      <a:pt x="188" y="532"/>
                    </a:lnTo>
                    <a:lnTo>
                      <a:pt x="206" y="546"/>
                    </a:lnTo>
                    <a:lnTo>
                      <a:pt x="227" y="558"/>
                    </a:lnTo>
                    <a:lnTo>
                      <a:pt x="248" y="568"/>
                    </a:lnTo>
                    <a:lnTo>
                      <a:pt x="271" y="576"/>
                    </a:lnTo>
                    <a:lnTo>
                      <a:pt x="294" y="583"/>
                    </a:lnTo>
                    <a:lnTo>
                      <a:pt x="319" y="586"/>
                    </a:lnTo>
                    <a:lnTo>
                      <a:pt x="344" y="588"/>
                    </a:lnTo>
                    <a:lnTo>
                      <a:pt x="344" y="588"/>
                    </a:lnTo>
                    <a:lnTo>
                      <a:pt x="368" y="586"/>
                    </a:lnTo>
                    <a:lnTo>
                      <a:pt x="392" y="583"/>
                    </a:lnTo>
                    <a:lnTo>
                      <a:pt x="416" y="576"/>
                    </a:lnTo>
                    <a:lnTo>
                      <a:pt x="438" y="568"/>
                    </a:lnTo>
                    <a:lnTo>
                      <a:pt x="460" y="558"/>
                    </a:lnTo>
                    <a:lnTo>
                      <a:pt x="479" y="546"/>
                    </a:lnTo>
                    <a:lnTo>
                      <a:pt x="499" y="532"/>
                    </a:lnTo>
                    <a:lnTo>
                      <a:pt x="515" y="517"/>
                    </a:lnTo>
                    <a:lnTo>
                      <a:pt x="515" y="517"/>
                    </a:lnTo>
                    <a:lnTo>
                      <a:pt x="532" y="499"/>
                    </a:lnTo>
                    <a:lnTo>
                      <a:pt x="546" y="481"/>
                    </a:lnTo>
                    <a:lnTo>
                      <a:pt x="558" y="460"/>
                    </a:lnTo>
                    <a:lnTo>
                      <a:pt x="568" y="439"/>
                    </a:lnTo>
                    <a:lnTo>
                      <a:pt x="576" y="417"/>
                    </a:lnTo>
                    <a:lnTo>
                      <a:pt x="582" y="394"/>
                    </a:lnTo>
                    <a:lnTo>
                      <a:pt x="586" y="369"/>
                    </a:lnTo>
                    <a:lnTo>
                      <a:pt x="587" y="344"/>
                    </a:lnTo>
                    <a:lnTo>
                      <a:pt x="587" y="344"/>
                    </a:lnTo>
                    <a:lnTo>
                      <a:pt x="586" y="319"/>
                    </a:lnTo>
                    <a:lnTo>
                      <a:pt x="582" y="295"/>
                    </a:lnTo>
                    <a:lnTo>
                      <a:pt x="576" y="272"/>
                    </a:lnTo>
                    <a:lnTo>
                      <a:pt x="568" y="249"/>
                    </a:lnTo>
                    <a:lnTo>
                      <a:pt x="558" y="227"/>
                    </a:lnTo>
                    <a:lnTo>
                      <a:pt x="546" y="208"/>
                    </a:lnTo>
                    <a:lnTo>
                      <a:pt x="532" y="189"/>
                    </a:lnTo>
                    <a:lnTo>
                      <a:pt x="515" y="172"/>
                    </a:lnTo>
                    <a:lnTo>
                      <a:pt x="515" y="172"/>
                    </a:lnTo>
                    <a:lnTo>
                      <a:pt x="499" y="155"/>
                    </a:lnTo>
                    <a:lnTo>
                      <a:pt x="479" y="141"/>
                    </a:lnTo>
                    <a:lnTo>
                      <a:pt x="460" y="129"/>
                    </a:lnTo>
                    <a:lnTo>
                      <a:pt x="438" y="119"/>
                    </a:lnTo>
                    <a:lnTo>
                      <a:pt x="416" y="111"/>
                    </a:lnTo>
                    <a:lnTo>
                      <a:pt x="392" y="105"/>
                    </a:lnTo>
                    <a:lnTo>
                      <a:pt x="368" y="101"/>
                    </a:lnTo>
                    <a:lnTo>
                      <a:pt x="344" y="100"/>
                    </a:lnTo>
                    <a:lnTo>
                      <a:pt x="344" y="100"/>
                    </a:lnTo>
                    <a:close/>
                    <a:moveTo>
                      <a:pt x="101" y="101"/>
                    </a:moveTo>
                    <a:lnTo>
                      <a:pt x="101" y="101"/>
                    </a:lnTo>
                    <a:lnTo>
                      <a:pt x="125" y="79"/>
                    </a:lnTo>
                    <a:lnTo>
                      <a:pt x="151" y="60"/>
                    </a:lnTo>
                    <a:lnTo>
                      <a:pt x="180" y="42"/>
                    </a:lnTo>
                    <a:lnTo>
                      <a:pt x="209" y="28"/>
                    </a:lnTo>
                    <a:lnTo>
                      <a:pt x="226" y="21"/>
                    </a:lnTo>
                    <a:lnTo>
                      <a:pt x="241" y="15"/>
                    </a:lnTo>
                    <a:lnTo>
                      <a:pt x="258" y="11"/>
                    </a:lnTo>
                    <a:lnTo>
                      <a:pt x="274" y="7"/>
                    </a:lnTo>
                    <a:lnTo>
                      <a:pt x="291" y="4"/>
                    </a:lnTo>
                    <a:lnTo>
                      <a:pt x="309" y="1"/>
                    </a:lnTo>
                    <a:lnTo>
                      <a:pt x="326" y="1"/>
                    </a:lnTo>
                    <a:lnTo>
                      <a:pt x="344" y="0"/>
                    </a:lnTo>
                    <a:lnTo>
                      <a:pt x="344" y="0"/>
                    </a:lnTo>
                    <a:lnTo>
                      <a:pt x="362" y="1"/>
                    </a:lnTo>
                    <a:lnTo>
                      <a:pt x="378" y="1"/>
                    </a:lnTo>
                    <a:lnTo>
                      <a:pt x="396" y="4"/>
                    </a:lnTo>
                    <a:lnTo>
                      <a:pt x="413" y="7"/>
                    </a:lnTo>
                    <a:lnTo>
                      <a:pt x="429" y="11"/>
                    </a:lnTo>
                    <a:lnTo>
                      <a:pt x="446" y="15"/>
                    </a:lnTo>
                    <a:lnTo>
                      <a:pt x="461" y="21"/>
                    </a:lnTo>
                    <a:lnTo>
                      <a:pt x="477" y="28"/>
                    </a:lnTo>
                    <a:lnTo>
                      <a:pt x="507" y="42"/>
                    </a:lnTo>
                    <a:lnTo>
                      <a:pt x="536" y="60"/>
                    </a:lnTo>
                    <a:lnTo>
                      <a:pt x="562" y="79"/>
                    </a:lnTo>
                    <a:lnTo>
                      <a:pt x="586" y="101"/>
                    </a:lnTo>
                    <a:lnTo>
                      <a:pt x="586" y="101"/>
                    </a:lnTo>
                    <a:lnTo>
                      <a:pt x="608" y="125"/>
                    </a:lnTo>
                    <a:lnTo>
                      <a:pt x="628" y="152"/>
                    </a:lnTo>
                    <a:lnTo>
                      <a:pt x="646" y="180"/>
                    </a:lnTo>
                    <a:lnTo>
                      <a:pt x="659" y="211"/>
                    </a:lnTo>
                    <a:lnTo>
                      <a:pt x="666" y="226"/>
                    </a:lnTo>
                    <a:lnTo>
                      <a:pt x="672" y="241"/>
                    </a:lnTo>
                    <a:lnTo>
                      <a:pt x="676" y="258"/>
                    </a:lnTo>
                    <a:lnTo>
                      <a:pt x="680" y="274"/>
                    </a:lnTo>
                    <a:lnTo>
                      <a:pt x="683" y="291"/>
                    </a:lnTo>
                    <a:lnTo>
                      <a:pt x="686" y="309"/>
                    </a:lnTo>
                    <a:lnTo>
                      <a:pt x="687" y="326"/>
                    </a:lnTo>
                    <a:lnTo>
                      <a:pt x="687" y="344"/>
                    </a:lnTo>
                    <a:lnTo>
                      <a:pt x="687" y="344"/>
                    </a:lnTo>
                    <a:lnTo>
                      <a:pt x="687" y="362"/>
                    </a:lnTo>
                    <a:lnTo>
                      <a:pt x="686" y="380"/>
                    </a:lnTo>
                    <a:lnTo>
                      <a:pt x="683" y="396"/>
                    </a:lnTo>
                    <a:lnTo>
                      <a:pt x="680" y="413"/>
                    </a:lnTo>
                    <a:lnTo>
                      <a:pt x="676" y="430"/>
                    </a:lnTo>
                    <a:lnTo>
                      <a:pt x="672" y="446"/>
                    </a:lnTo>
                    <a:lnTo>
                      <a:pt x="666" y="461"/>
                    </a:lnTo>
                    <a:lnTo>
                      <a:pt x="659" y="478"/>
                    </a:lnTo>
                    <a:lnTo>
                      <a:pt x="646" y="507"/>
                    </a:lnTo>
                    <a:lnTo>
                      <a:pt x="628" y="536"/>
                    </a:lnTo>
                    <a:lnTo>
                      <a:pt x="608" y="563"/>
                    </a:lnTo>
                    <a:lnTo>
                      <a:pt x="586" y="588"/>
                    </a:lnTo>
                    <a:lnTo>
                      <a:pt x="586" y="588"/>
                    </a:lnTo>
                    <a:lnTo>
                      <a:pt x="562" y="610"/>
                    </a:lnTo>
                    <a:lnTo>
                      <a:pt x="536" y="629"/>
                    </a:lnTo>
                    <a:lnTo>
                      <a:pt x="507" y="646"/>
                    </a:lnTo>
                    <a:lnTo>
                      <a:pt x="477" y="661"/>
                    </a:lnTo>
                    <a:lnTo>
                      <a:pt x="461" y="666"/>
                    </a:lnTo>
                    <a:lnTo>
                      <a:pt x="446" y="672"/>
                    </a:lnTo>
                    <a:lnTo>
                      <a:pt x="429" y="676"/>
                    </a:lnTo>
                    <a:lnTo>
                      <a:pt x="413" y="680"/>
                    </a:lnTo>
                    <a:lnTo>
                      <a:pt x="396" y="683"/>
                    </a:lnTo>
                    <a:lnTo>
                      <a:pt x="378" y="686"/>
                    </a:lnTo>
                    <a:lnTo>
                      <a:pt x="362" y="687"/>
                    </a:lnTo>
                    <a:lnTo>
                      <a:pt x="344" y="687"/>
                    </a:lnTo>
                    <a:lnTo>
                      <a:pt x="344" y="687"/>
                    </a:lnTo>
                    <a:lnTo>
                      <a:pt x="326" y="687"/>
                    </a:lnTo>
                    <a:lnTo>
                      <a:pt x="309" y="686"/>
                    </a:lnTo>
                    <a:lnTo>
                      <a:pt x="291" y="683"/>
                    </a:lnTo>
                    <a:lnTo>
                      <a:pt x="274" y="680"/>
                    </a:lnTo>
                    <a:lnTo>
                      <a:pt x="258" y="676"/>
                    </a:lnTo>
                    <a:lnTo>
                      <a:pt x="241" y="672"/>
                    </a:lnTo>
                    <a:lnTo>
                      <a:pt x="226" y="666"/>
                    </a:lnTo>
                    <a:lnTo>
                      <a:pt x="209" y="661"/>
                    </a:lnTo>
                    <a:lnTo>
                      <a:pt x="180" y="646"/>
                    </a:lnTo>
                    <a:lnTo>
                      <a:pt x="151" y="629"/>
                    </a:lnTo>
                    <a:lnTo>
                      <a:pt x="125" y="610"/>
                    </a:lnTo>
                    <a:lnTo>
                      <a:pt x="101" y="588"/>
                    </a:lnTo>
                    <a:lnTo>
                      <a:pt x="101" y="588"/>
                    </a:lnTo>
                    <a:lnTo>
                      <a:pt x="77" y="563"/>
                    </a:lnTo>
                    <a:lnTo>
                      <a:pt x="58" y="536"/>
                    </a:lnTo>
                    <a:lnTo>
                      <a:pt x="41" y="507"/>
                    </a:lnTo>
                    <a:lnTo>
                      <a:pt x="26" y="478"/>
                    </a:lnTo>
                    <a:lnTo>
                      <a:pt x="21" y="461"/>
                    </a:lnTo>
                    <a:lnTo>
                      <a:pt x="15" y="446"/>
                    </a:lnTo>
                    <a:lnTo>
                      <a:pt x="11" y="430"/>
                    </a:lnTo>
                    <a:lnTo>
                      <a:pt x="7" y="413"/>
                    </a:lnTo>
                    <a:lnTo>
                      <a:pt x="4" y="396"/>
                    </a:lnTo>
                    <a:lnTo>
                      <a:pt x="1" y="380"/>
                    </a:lnTo>
                    <a:lnTo>
                      <a:pt x="0" y="362"/>
                    </a:lnTo>
                    <a:lnTo>
                      <a:pt x="0" y="344"/>
                    </a:lnTo>
                    <a:lnTo>
                      <a:pt x="0" y="344"/>
                    </a:lnTo>
                    <a:lnTo>
                      <a:pt x="0" y="326"/>
                    </a:lnTo>
                    <a:lnTo>
                      <a:pt x="1" y="309"/>
                    </a:lnTo>
                    <a:lnTo>
                      <a:pt x="4" y="291"/>
                    </a:lnTo>
                    <a:lnTo>
                      <a:pt x="7" y="274"/>
                    </a:lnTo>
                    <a:lnTo>
                      <a:pt x="11" y="258"/>
                    </a:lnTo>
                    <a:lnTo>
                      <a:pt x="15" y="241"/>
                    </a:lnTo>
                    <a:lnTo>
                      <a:pt x="21" y="226"/>
                    </a:lnTo>
                    <a:lnTo>
                      <a:pt x="26" y="211"/>
                    </a:lnTo>
                    <a:lnTo>
                      <a:pt x="41" y="180"/>
                    </a:lnTo>
                    <a:lnTo>
                      <a:pt x="58" y="152"/>
                    </a:lnTo>
                    <a:lnTo>
                      <a:pt x="77" y="125"/>
                    </a:lnTo>
                    <a:lnTo>
                      <a:pt x="101" y="101"/>
                    </a:lnTo>
                    <a:lnTo>
                      <a:pt x="101" y="101"/>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1" name="Freeform 153">
                <a:extLst>
                  <a:ext uri="{FF2B5EF4-FFF2-40B4-BE49-F238E27FC236}">
                    <a16:creationId xmlns:a16="http://schemas.microsoft.com/office/drawing/2014/main" id="{3A1C2DEE-9B6B-4CDC-AA2C-878B829515FC}"/>
                  </a:ext>
                </a:extLst>
              </p:cNvPr>
              <p:cNvSpPr>
                <a:spLocks/>
              </p:cNvSpPr>
              <p:nvPr/>
            </p:nvSpPr>
            <p:spPr bwMode="auto">
              <a:xfrm>
                <a:off x="-3948113" y="4691063"/>
                <a:ext cx="153987" cy="153988"/>
              </a:xfrm>
              <a:custGeom>
                <a:avLst/>
                <a:gdLst/>
                <a:ahLst/>
                <a:cxnLst>
                  <a:cxn ang="0">
                    <a:pos x="93" y="140"/>
                  </a:cxn>
                  <a:cxn ang="0">
                    <a:pos x="93" y="140"/>
                  </a:cxn>
                  <a:cxn ang="0">
                    <a:pos x="93" y="151"/>
                  </a:cxn>
                  <a:cxn ang="0">
                    <a:pos x="95" y="161"/>
                  </a:cxn>
                  <a:cxn ang="0">
                    <a:pos x="101" y="170"/>
                  </a:cxn>
                  <a:cxn ang="0">
                    <a:pos x="107" y="179"/>
                  </a:cxn>
                  <a:cxn ang="0">
                    <a:pos x="107" y="179"/>
                  </a:cxn>
                  <a:cxn ang="0">
                    <a:pos x="115" y="184"/>
                  </a:cxn>
                  <a:cxn ang="0">
                    <a:pos x="123" y="190"/>
                  </a:cxn>
                  <a:cxn ang="0">
                    <a:pos x="133" y="193"/>
                  </a:cxn>
                  <a:cxn ang="0">
                    <a:pos x="143" y="193"/>
                  </a:cxn>
                  <a:cxn ang="0">
                    <a:pos x="152" y="193"/>
                  </a:cxn>
                  <a:cxn ang="0">
                    <a:pos x="161" y="190"/>
                  </a:cxn>
                  <a:cxn ang="0">
                    <a:pos x="170" y="184"/>
                  </a:cxn>
                  <a:cxn ang="0">
                    <a:pos x="177" y="179"/>
                  </a:cxn>
                  <a:cxn ang="0">
                    <a:pos x="177" y="179"/>
                  </a:cxn>
                  <a:cxn ang="0">
                    <a:pos x="184" y="170"/>
                  </a:cxn>
                  <a:cxn ang="0">
                    <a:pos x="188" y="162"/>
                  </a:cxn>
                  <a:cxn ang="0">
                    <a:pos x="191" y="152"/>
                  </a:cxn>
                  <a:cxn ang="0">
                    <a:pos x="192" y="143"/>
                  </a:cxn>
                  <a:cxn ang="0">
                    <a:pos x="191" y="133"/>
                  </a:cxn>
                  <a:cxn ang="0">
                    <a:pos x="188" y="125"/>
                  </a:cxn>
                  <a:cxn ang="0">
                    <a:pos x="184" y="115"/>
                  </a:cxn>
                  <a:cxn ang="0">
                    <a:pos x="177" y="108"/>
                  </a:cxn>
                  <a:cxn ang="0">
                    <a:pos x="177" y="108"/>
                  </a:cxn>
                  <a:cxn ang="0">
                    <a:pos x="169" y="101"/>
                  </a:cxn>
                  <a:cxn ang="0">
                    <a:pos x="159" y="96"/>
                  </a:cxn>
                  <a:cxn ang="0">
                    <a:pos x="149" y="94"/>
                  </a:cxn>
                  <a:cxn ang="0">
                    <a:pos x="140" y="93"/>
                  </a:cxn>
                  <a:cxn ang="0">
                    <a:pos x="57" y="10"/>
                  </a:cxn>
                  <a:cxn ang="0">
                    <a:pos x="57" y="10"/>
                  </a:cxn>
                  <a:cxn ang="0">
                    <a:pos x="51" y="6"/>
                  </a:cxn>
                  <a:cxn ang="0">
                    <a:pos x="46" y="3"/>
                  </a:cxn>
                  <a:cxn ang="0">
                    <a:pos x="39" y="0"/>
                  </a:cxn>
                  <a:cxn ang="0">
                    <a:pos x="33" y="0"/>
                  </a:cxn>
                  <a:cxn ang="0">
                    <a:pos x="26" y="0"/>
                  </a:cxn>
                  <a:cxn ang="0">
                    <a:pos x="21" y="3"/>
                  </a:cxn>
                  <a:cxn ang="0">
                    <a:pos x="14" y="6"/>
                  </a:cxn>
                  <a:cxn ang="0">
                    <a:pos x="10" y="10"/>
                  </a:cxn>
                  <a:cxn ang="0">
                    <a:pos x="10" y="10"/>
                  </a:cxn>
                  <a:cxn ang="0">
                    <a:pos x="5" y="15"/>
                  </a:cxn>
                  <a:cxn ang="0">
                    <a:pos x="1" y="21"/>
                  </a:cxn>
                  <a:cxn ang="0">
                    <a:pos x="0" y="26"/>
                  </a:cxn>
                  <a:cxn ang="0">
                    <a:pos x="0" y="33"/>
                  </a:cxn>
                  <a:cxn ang="0">
                    <a:pos x="0" y="40"/>
                  </a:cxn>
                  <a:cxn ang="0">
                    <a:pos x="1" y="46"/>
                  </a:cxn>
                  <a:cxn ang="0">
                    <a:pos x="5" y="51"/>
                  </a:cxn>
                  <a:cxn ang="0">
                    <a:pos x="10" y="57"/>
                  </a:cxn>
                  <a:cxn ang="0">
                    <a:pos x="93" y="140"/>
                  </a:cxn>
                  <a:cxn ang="0">
                    <a:pos x="93" y="140"/>
                  </a:cxn>
                </a:cxnLst>
                <a:rect l="0" t="0" r="r" b="b"/>
                <a:pathLst>
                  <a:path w="192" h="193">
                    <a:moveTo>
                      <a:pt x="93" y="140"/>
                    </a:moveTo>
                    <a:lnTo>
                      <a:pt x="93" y="140"/>
                    </a:lnTo>
                    <a:lnTo>
                      <a:pt x="93" y="151"/>
                    </a:lnTo>
                    <a:lnTo>
                      <a:pt x="95" y="161"/>
                    </a:lnTo>
                    <a:lnTo>
                      <a:pt x="101" y="170"/>
                    </a:lnTo>
                    <a:lnTo>
                      <a:pt x="107" y="179"/>
                    </a:lnTo>
                    <a:lnTo>
                      <a:pt x="107" y="179"/>
                    </a:lnTo>
                    <a:lnTo>
                      <a:pt x="115" y="184"/>
                    </a:lnTo>
                    <a:lnTo>
                      <a:pt x="123" y="190"/>
                    </a:lnTo>
                    <a:lnTo>
                      <a:pt x="133" y="193"/>
                    </a:lnTo>
                    <a:lnTo>
                      <a:pt x="143" y="193"/>
                    </a:lnTo>
                    <a:lnTo>
                      <a:pt x="152" y="193"/>
                    </a:lnTo>
                    <a:lnTo>
                      <a:pt x="161" y="190"/>
                    </a:lnTo>
                    <a:lnTo>
                      <a:pt x="170" y="184"/>
                    </a:lnTo>
                    <a:lnTo>
                      <a:pt x="177" y="179"/>
                    </a:lnTo>
                    <a:lnTo>
                      <a:pt x="177" y="179"/>
                    </a:lnTo>
                    <a:lnTo>
                      <a:pt x="184" y="170"/>
                    </a:lnTo>
                    <a:lnTo>
                      <a:pt x="188" y="162"/>
                    </a:lnTo>
                    <a:lnTo>
                      <a:pt x="191" y="152"/>
                    </a:lnTo>
                    <a:lnTo>
                      <a:pt x="192" y="143"/>
                    </a:lnTo>
                    <a:lnTo>
                      <a:pt x="191" y="133"/>
                    </a:lnTo>
                    <a:lnTo>
                      <a:pt x="188" y="125"/>
                    </a:lnTo>
                    <a:lnTo>
                      <a:pt x="184" y="115"/>
                    </a:lnTo>
                    <a:lnTo>
                      <a:pt x="177" y="108"/>
                    </a:lnTo>
                    <a:lnTo>
                      <a:pt x="177" y="108"/>
                    </a:lnTo>
                    <a:lnTo>
                      <a:pt x="169" y="101"/>
                    </a:lnTo>
                    <a:lnTo>
                      <a:pt x="159" y="96"/>
                    </a:lnTo>
                    <a:lnTo>
                      <a:pt x="149" y="94"/>
                    </a:lnTo>
                    <a:lnTo>
                      <a:pt x="140" y="93"/>
                    </a:lnTo>
                    <a:lnTo>
                      <a:pt x="57" y="10"/>
                    </a:lnTo>
                    <a:lnTo>
                      <a:pt x="57" y="10"/>
                    </a:lnTo>
                    <a:lnTo>
                      <a:pt x="51" y="6"/>
                    </a:lnTo>
                    <a:lnTo>
                      <a:pt x="46" y="3"/>
                    </a:lnTo>
                    <a:lnTo>
                      <a:pt x="39" y="0"/>
                    </a:lnTo>
                    <a:lnTo>
                      <a:pt x="33" y="0"/>
                    </a:lnTo>
                    <a:lnTo>
                      <a:pt x="26" y="0"/>
                    </a:lnTo>
                    <a:lnTo>
                      <a:pt x="21" y="3"/>
                    </a:lnTo>
                    <a:lnTo>
                      <a:pt x="14" y="6"/>
                    </a:lnTo>
                    <a:lnTo>
                      <a:pt x="10" y="10"/>
                    </a:lnTo>
                    <a:lnTo>
                      <a:pt x="10" y="10"/>
                    </a:lnTo>
                    <a:lnTo>
                      <a:pt x="5" y="15"/>
                    </a:lnTo>
                    <a:lnTo>
                      <a:pt x="1" y="21"/>
                    </a:lnTo>
                    <a:lnTo>
                      <a:pt x="0" y="26"/>
                    </a:lnTo>
                    <a:lnTo>
                      <a:pt x="0" y="33"/>
                    </a:lnTo>
                    <a:lnTo>
                      <a:pt x="0" y="40"/>
                    </a:lnTo>
                    <a:lnTo>
                      <a:pt x="1" y="46"/>
                    </a:lnTo>
                    <a:lnTo>
                      <a:pt x="5" y="51"/>
                    </a:lnTo>
                    <a:lnTo>
                      <a:pt x="10" y="57"/>
                    </a:lnTo>
                    <a:lnTo>
                      <a:pt x="93" y="140"/>
                    </a:lnTo>
                    <a:lnTo>
                      <a:pt x="93" y="14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sp>
        <p:nvSpPr>
          <p:cNvPr id="62" name="Freeform 10">
            <a:extLst>
              <a:ext uri="{FF2B5EF4-FFF2-40B4-BE49-F238E27FC236}">
                <a16:creationId xmlns:a16="http://schemas.microsoft.com/office/drawing/2014/main" id="{575C17C4-12B9-4D02-8C4C-A77DD8F57CF4}"/>
              </a:ext>
            </a:extLst>
          </p:cNvPr>
          <p:cNvSpPr>
            <a:spLocks noEditPoints="1"/>
          </p:cNvSpPr>
          <p:nvPr/>
        </p:nvSpPr>
        <p:spPr bwMode="auto">
          <a:xfrm>
            <a:off x="882876" y="4901329"/>
            <a:ext cx="468000" cy="468000"/>
          </a:xfrm>
          <a:custGeom>
            <a:avLst/>
            <a:gdLst/>
            <a:ahLst/>
            <a:cxnLst>
              <a:cxn ang="0">
                <a:pos x="118" y="16"/>
              </a:cxn>
              <a:cxn ang="0">
                <a:pos x="32" y="84"/>
              </a:cxn>
              <a:cxn ang="0">
                <a:pos x="0" y="192"/>
              </a:cxn>
              <a:cxn ang="0">
                <a:pos x="24" y="284"/>
              </a:cxn>
              <a:cxn ang="0">
                <a:pos x="100" y="360"/>
              </a:cxn>
              <a:cxn ang="0">
                <a:pos x="192" y="384"/>
              </a:cxn>
              <a:cxn ang="0">
                <a:pos x="300" y="352"/>
              </a:cxn>
              <a:cxn ang="0">
                <a:pos x="368" y="266"/>
              </a:cxn>
              <a:cxn ang="0">
                <a:pos x="384" y="172"/>
              </a:cxn>
              <a:cxn ang="0">
                <a:pos x="340" y="70"/>
              </a:cxn>
              <a:cxn ang="0">
                <a:pos x="250" y="8"/>
              </a:cxn>
              <a:cxn ang="0">
                <a:pos x="192" y="14"/>
              </a:cxn>
              <a:cxn ang="0">
                <a:pos x="292" y="44"/>
              </a:cxn>
              <a:cxn ang="0">
                <a:pos x="356" y="122"/>
              </a:cxn>
              <a:cxn ang="0">
                <a:pos x="368" y="210"/>
              </a:cxn>
              <a:cxn ang="0">
                <a:pos x="314" y="240"/>
              </a:cxn>
              <a:cxn ang="0">
                <a:pos x="302" y="220"/>
              </a:cxn>
              <a:cxn ang="0">
                <a:pos x="340" y="204"/>
              </a:cxn>
              <a:cxn ang="0">
                <a:pos x="324" y="150"/>
              </a:cxn>
              <a:cxn ang="0">
                <a:pos x="304" y="104"/>
              </a:cxn>
              <a:cxn ang="0">
                <a:pos x="268" y="98"/>
              </a:cxn>
              <a:cxn ang="0">
                <a:pos x="266" y="132"/>
              </a:cxn>
              <a:cxn ang="0">
                <a:pos x="270" y="178"/>
              </a:cxn>
              <a:cxn ang="0">
                <a:pos x="244" y="218"/>
              </a:cxn>
              <a:cxn ang="0">
                <a:pos x="250" y="238"/>
              </a:cxn>
              <a:cxn ang="0">
                <a:pos x="322" y="270"/>
              </a:cxn>
              <a:cxn ang="0">
                <a:pos x="328" y="306"/>
              </a:cxn>
              <a:cxn ang="0">
                <a:pos x="274" y="266"/>
              </a:cxn>
              <a:cxn ang="0">
                <a:pos x="224" y="234"/>
              </a:cxn>
              <a:cxn ang="0">
                <a:pos x="238" y="186"/>
              </a:cxn>
              <a:cxn ang="0">
                <a:pos x="254" y="164"/>
              </a:cxn>
              <a:cxn ang="0">
                <a:pos x="250" y="98"/>
              </a:cxn>
              <a:cxn ang="0">
                <a:pos x="234" y="68"/>
              </a:cxn>
              <a:cxn ang="0">
                <a:pos x="196" y="56"/>
              </a:cxn>
              <a:cxn ang="0">
                <a:pos x="146" y="68"/>
              </a:cxn>
              <a:cxn ang="0">
                <a:pos x="134" y="98"/>
              </a:cxn>
              <a:cxn ang="0">
                <a:pos x="128" y="164"/>
              </a:cxn>
              <a:cxn ang="0">
                <a:pos x="146" y="186"/>
              </a:cxn>
              <a:cxn ang="0">
                <a:pos x="160" y="234"/>
              </a:cxn>
              <a:cxn ang="0">
                <a:pos x="110" y="266"/>
              </a:cxn>
              <a:cxn ang="0">
                <a:pos x="56" y="306"/>
              </a:cxn>
              <a:cxn ang="0">
                <a:pos x="62" y="270"/>
              </a:cxn>
              <a:cxn ang="0">
                <a:pos x="134" y="238"/>
              </a:cxn>
              <a:cxn ang="0">
                <a:pos x="130" y="214"/>
              </a:cxn>
              <a:cxn ang="0">
                <a:pos x="120" y="186"/>
              </a:cxn>
              <a:cxn ang="0">
                <a:pos x="114" y="140"/>
              </a:cxn>
              <a:cxn ang="0">
                <a:pos x="116" y="98"/>
              </a:cxn>
              <a:cxn ang="0">
                <a:pos x="80" y="102"/>
              </a:cxn>
              <a:cxn ang="0">
                <a:pos x="64" y="128"/>
              </a:cxn>
              <a:cxn ang="0">
                <a:pos x="58" y="168"/>
              </a:cxn>
              <a:cxn ang="0">
                <a:pos x="72" y="190"/>
              </a:cxn>
              <a:cxn ang="0">
                <a:pos x="82" y="226"/>
              </a:cxn>
              <a:cxn ang="0">
                <a:pos x="70" y="240"/>
              </a:cxn>
              <a:cxn ang="0">
                <a:pos x="14" y="192"/>
              </a:cxn>
              <a:cxn ang="0">
                <a:pos x="36" y="108"/>
              </a:cxn>
              <a:cxn ang="0">
                <a:pos x="108" y="36"/>
              </a:cxn>
              <a:cxn ang="0">
                <a:pos x="192" y="14"/>
              </a:cxn>
            </a:cxnLst>
            <a:rect l="0" t="0" r="r" b="b"/>
            <a:pathLst>
              <a:path w="384" h="384">
                <a:moveTo>
                  <a:pt x="192" y="0"/>
                </a:moveTo>
                <a:lnTo>
                  <a:pt x="192" y="0"/>
                </a:lnTo>
                <a:lnTo>
                  <a:pt x="172" y="0"/>
                </a:lnTo>
                <a:lnTo>
                  <a:pt x="154" y="4"/>
                </a:lnTo>
                <a:lnTo>
                  <a:pt x="134" y="8"/>
                </a:lnTo>
                <a:lnTo>
                  <a:pt x="118" y="16"/>
                </a:lnTo>
                <a:lnTo>
                  <a:pt x="100" y="24"/>
                </a:lnTo>
                <a:lnTo>
                  <a:pt x="84" y="32"/>
                </a:lnTo>
                <a:lnTo>
                  <a:pt x="70" y="44"/>
                </a:lnTo>
                <a:lnTo>
                  <a:pt x="56" y="56"/>
                </a:lnTo>
                <a:lnTo>
                  <a:pt x="44" y="70"/>
                </a:lnTo>
                <a:lnTo>
                  <a:pt x="32" y="84"/>
                </a:lnTo>
                <a:lnTo>
                  <a:pt x="24" y="100"/>
                </a:lnTo>
                <a:lnTo>
                  <a:pt x="16" y="118"/>
                </a:lnTo>
                <a:lnTo>
                  <a:pt x="8" y="134"/>
                </a:lnTo>
                <a:lnTo>
                  <a:pt x="4" y="154"/>
                </a:lnTo>
                <a:lnTo>
                  <a:pt x="0" y="172"/>
                </a:lnTo>
                <a:lnTo>
                  <a:pt x="0" y="192"/>
                </a:lnTo>
                <a:lnTo>
                  <a:pt x="0" y="192"/>
                </a:lnTo>
                <a:lnTo>
                  <a:pt x="0" y="212"/>
                </a:lnTo>
                <a:lnTo>
                  <a:pt x="4" y="230"/>
                </a:lnTo>
                <a:lnTo>
                  <a:pt x="8" y="250"/>
                </a:lnTo>
                <a:lnTo>
                  <a:pt x="16" y="266"/>
                </a:lnTo>
                <a:lnTo>
                  <a:pt x="24" y="284"/>
                </a:lnTo>
                <a:lnTo>
                  <a:pt x="32" y="300"/>
                </a:lnTo>
                <a:lnTo>
                  <a:pt x="44" y="314"/>
                </a:lnTo>
                <a:lnTo>
                  <a:pt x="56" y="328"/>
                </a:lnTo>
                <a:lnTo>
                  <a:pt x="70" y="340"/>
                </a:lnTo>
                <a:lnTo>
                  <a:pt x="84" y="352"/>
                </a:lnTo>
                <a:lnTo>
                  <a:pt x="100" y="360"/>
                </a:lnTo>
                <a:lnTo>
                  <a:pt x="118" y="368"/>
                </a:lnTo>
                <a:lnTo>
                  <a:pt x="134" y="376"/>
                </a:lnTo>
                <a:lnTo>
                  <a:pt x="154" y="380"/>
                </a:lnTo>
                <a:lnTo>
                  <a:pt x="172" y="384"/>
                </a:lnTo>
                <a:lnTo>
                  <a:pt x="192" y="384"/>
                </a:lnTo>
                <a:lnTo>
                  <a:pt x="192" y="384"/>
                </a:lnTo>
                <a:lnTo>
                  <a:pt x="212" y="384"/>
                </a:lnTo>
                <a:lnTo>
                  <a:pt x="230" y="380"/>
                </a:lnTo>
                <a:lnTo>
                  <a:pt x="250" y="376"/>
                </a:lnTo>
                <a:lnTo>
                  <a:pt x="266" y="368"/>
                </a:lnTo>
                <a:lnTo>
                  <a:pt x="284" y="360"/>
                </a:lnTo>
                <a:lnTo>
                  <a:pt x="300" y="352"/>
                </a:lnTo>
                <a:lnTo>
                  <a:pt x="314" y="340"/>
                </a:lnTo>
                <a:lnTo>
                  <a:pt x="328" y="328"/>
                </a:lnTo>
                <a:lnTo>
                  <a:pt x="340" y="314"/>
                </a:lnTo>
                <a:lnTo>
                  <a:pt x="352" y="300"/>
                </a:lnTo>
                <a:lnTo>
                  <a:pt x="360" y="284"/>
                </a:lnTo>
                <a:lnTo>
                  <a:pt x="368" y="266"/>
                </a:lnTo>
                <a:lnTo>
                  <a:pt x="376" y="250"/>
                </a:lnTo>
                <a:lnTo>
                  <a:pt x="380" y="230"/>
                </a:lnTo>
                <a:lnTo>
                  <a:pt x="384" y="212"/>
                </a:lnTo>
                <a:lnTo>
                  <a:pt x="384" y="192"/>
                </a:lnTo>
                <a:lnTo>
                  <a:pt x="384" y="192"/>
                </a:lnTo>
                <a:lnTo>
                  <a:pt x="384" y="172"/>
                </a:lnTo>
                <a:lnTo>
                  <a:pt x="380" y="154"/>
                </a:lnTo>
                <a:lnTo>
                  <a:pt x="376" y="134"/>
                </a:lnTo>
                <a:lnTo>
                  <a:pt x="368" y="118"/>
                </a:lnTo>
                <a:lnTo>
                  <a:pt x="360" y="100"/>
                </a:lnTo>
                <a:lnTo>
                  <a:pt x="352" y="84"/>
                </a:lnTo>
                <a:lnTo>
                  <a:pt x="340" y="70"/>
                </a:lnTo>
                <a:lnTo>
                  <a:pt x="328" y="56"/>
                </a:lnTo>
                <a:lnTo>
                  <a:pt x="314" y="44"/>
                </a:lnTo>
                <a:lnTo>
                  <a:pt x="300" y="32"/>
                </a:lnTo>
                <a:lnTo>
                  <a:pt x="284" y="24"/>
                </a:lnTo>
                <a:lnTo>
                  <a:pt x="266" y="16"/>
                </a:lnTo>
                <a:lnTo>
                  <a:pt x="250" y="8"/>
                </a:lnTo>
                <a:lnTo>
                  <a:pt x="230" y="4"/>
                </a:lnTo>
                <a:lnTo>
                  <a:pt x="212" y="0"/>
                </a:lnTo>
                <a:lnTo>
                  <a:pt x="192" y="0"/>
                </a:lnTo>
                <a:lnTo>
                  <a:pt x="192" y="0"/>
                </a:lnTo>
                <a:close/>
                <a:moveTo>
                  <a:pt x="192" y="14"/>
                </a:moveTo>
                <a:lnTo>
                  <a:pt x="192" y="14"/>
                </a:lnTo>
                <a:lnTo>
                  <a:pt x="210" y="16"/>
                </a:lnTo>
                <a:lnTo>
                  <a:pt x="228" y="18"/>
                </a:lnTo>
                <a:lnTo>
                  <a:pt x="244" y="22"/>
                </a:lnTo>
                <a:lnTo>
                  <a:pt x="262" y="28"/>
                </a:lnTo>
                <a:lnTo>
                  <a:pt x="276" y="36"/>
                </a:lnTo>
                <a:lnTo>
                  <a:pt x="292" y="44"/>
                </a:lnTo>
                <a:lnTo>
                  <a:pt x="304" y="56"/>
                </a:lnTo>
                <a:lnTo>
                  <a:pt x="318" y="66"/>
                </a:lnTo>
                <a:lnTo>
                  <a:pt x="328" y="80"/>
                </a:lnTo>
                <a:lnTo>
                  <a:pt x="340" y="92"/>
                </a:lnTo>
                <a:lnTo>
                  <a:pt x="348" y="108"/>
                </a:lnTo>
                <a:lnTo>
                  <a:pt x="356" y="122"/>
                </a:lnTo>
                <a:lnTo>
                  <a:pt x="362" y="140"/>
                </a:lnTo>
                <a:lnTo>
                  <a:pt x="366" y="156"/>
                </a:lnTo>
                <a:lnTo>
                  <a:pt x="368" y="174"/>
                </a:lnTo>
                <a:lnTo>
                  <a:pt x="370" y="192"/>
                </a:lnTo>
                <a:lnTo>
                  <a:pt x="370" y="192"/>
                </a:lnTo>
                <a:lnTo>
                  <a:pt x="368" y="210"/>
                </a:lnTo>
                <a:lnTo>
                  <a:pt x="366" y="226"/>
                </a:lnTo>
                <a:lnTo>
                  <a:pt x="362" y="242"/>
                </a:lnTo>
                <a:lnTo>
                  <a:pt x="356" y="258"/>
                </a:lnTo>
                <a:lnTo>
                  <a:pt x="356" y="258"/>
                </a:lnTo>
                <a:lnTo>
                  <a:pt x="314" y="240"/>
                </a:lnTo>
                <a:lnTo>
                  <a:pt x="314" y="240"/>
                </a:lnTo>
                <a:lnTo>
                  <a:pt x="306" y="238"/>
                </a:lnTo>
                <a:lnTo>
                  <a:pt x="304" y="234"/>
                </a:lnTo>
                <a:lnTo>
                  <a:pt x="302" y="230"/>
                </a:lnTo>
                <a:lnTo>
                  <a:pt x="302" y="226"/>
                </a:lnTo>
                <a:lnTo>
                  <a:pt x="302" y="220"/>
                </a:lnTo>
                <a:lnTo>
                  <a:pt x="302" y="220"/>
                </a:lnTo>
                <a:lnTo>
                  <a:pt x="310" y="218"/>
                </a:lnTo>
                <a:lnTo>
                  <a:pt x="316" y="216"/>
                </a:lnTo>
                <a:lnTo>
                  <a:pt x="330" y="212"/>
                </a:lnTo>
                <a:lnTo>
                  <a:pt x="342" y="204"/>
                </a:lnTo>
                <a:lnTo>
                  <a:pt x="342" y="204"/>
                </a:lnTo>
                <a:lnTo>
                  <a:pt x="340" y="204"/>
                </a:lnTo>
                <a:lnTo>
                  <a:pt x="336" y="202"/>
                </a:lnTo>
                <a:lnTo>
                  <a:pt x="334" y="198"/>
                </a:lnTo>
                <a:lnTo>
                  <a:pt x="330" y="192"/>
                </a:lnTo>
                <a:lnTo>
                  <a:pt x="328" y="182"/>
                </a:lnTo>
                <a:lnTo>
                  <a:pt x="326" y="168"/>
                </a:lnTo>
                <a:lnTo>
                  <a:pt x="324" y="150"/>
                </a:lnTo>
                <a:lnTo>
                  <a:pt x="324" y="150"/>
                </a:lnTo>
                <a:lnTo>
                  <a:pt x="324" y="138"/>
                </a:lnTo>
                <a:lnTo>
                  <a:pt x="320" y="128"/>
                </a:lnTo>
                <a:lnTo>
                  <a:pt x="316" y="118"/>
                </a:lnTo>
                <a:lnTo>
                  <a:pt x="310" y="110"/>
                </a:lnTo>
                <a:lnTo>
                  <a:pt x="304" y="104"/>
                </a:lnTo>
                <a:lnTo>
                  <a:pt x="296" y="100"/>
                </a:lnTo>
                <a:lnTo>
                  <a:pt x="288" y="96"/>
                </a:lnTo>
                <a:lnTo>
                  <a:pt x="278" y="96"/>
                </a:lnTo>
                <a:lnTo>
                  <a:pt x="278" y="96"/>
                </a:lnTo>
                <a:lnTo>
                  <a:pt x="268" y="98"/>
                </a:lnTo>
                <a:lnTo>
                  <a:pt x="268" y="98"/>
                </a:lnTo>
                <a:lnTo>
                  <a:pt x="268" y="98"/>
                </a:lnTo>
                <a:lnTo>
                  <a:pt x="268" y="98"/>
                </a:lnTo>
                <a:lnTo>
                  <a:pt x="266" y="126"/>
                </a:lnTo>
                <a:lnTo>
                  <a:pt x="266" y="126"/>
                </a:lnTo>
                <a:lnTo>
                  <a:pt x="266" y="132"/>
                </a:lnTo>
                <a:lnTo>
                  <a:pt x="266" y="132"/>
                </a:lnTo>
                <a:lnTo>
                  <a:pt x="270" y="138"/>
                </a:lnTo>
                <a:lnTo>
                  <a:pt x="272" y="148"/>
                </a:lnTo>
                <a:lnTo>
                  <a:pt x="274" y="158"/>
                </a:lnTo>
                <a:lnTo>
                  <a:pt x="272" y="168"/>
                </a:lnTo>
                <a:lnTo>
                  <a:pt x="272" y="168"/>
                </a:lnTo>
                <a:lnTo>
                  <a:pt x="270" y="178"/>
                </a:lnTo>
                <a:lnTo>
                  <a:pt x="264" y="186"/>
                </a:lnTo>
                <a:lnTo>
                  <a:pt x="258" y="194"/>
                </a:lnTo>
                <a:lnTo>
                  <a:pt x="252" y="200"/>
                </a:lnTo>
                <a:lnTo>
                  <a:pt x="252" y="200"/>
                </a:lnTo>
                <a:lnTo>
                  <a:pt x="244" y="218"/>
                </a:lnTo>
                <a:lnTo>
                  <a:pt x="244" y="218"/>
                </a:lnTo>
                <a:lnTo>
                  <a:pt x="254" y="220"/>
                </a:lnTo>
                <a:lnTo>
                  <a:pt x="254" y="226"/>
                </a:lnTo>
                <a:lnTo>
                  <a:pt x="254" y="226"/>
                </a:lnTo>
                <a:lnTo>
                  <a:pt x="254" y="232"/>
                </a:lnTo>
                <a:lnTo>
                  <a:pt x="252" y="236"/>
                </a:lnTo>
                <a:lnTo>
                  <a:pt x="250" y="238"/>
                </a:lnTo>
                <a:lnTo>
                  <a:pt x="250" y="238"/>
                </a:lnTo>
                <a:lnTo>
                  <a:pt x="250" y="238"/>
                </a:lnTo>
                <a:lnTo>
                  <a:pt x="250" y="238"/>
                </a:lnTo>
                <a:lnTo>
                  <a:pt x="282" y="250"/>
                </a:lnTo>
                <a:lnTo>
                  <a:pt x="306" y="260"/>
                </a:lnTo>
                <a:lnTo>
                  <a:pt x="322" y="270"/>
                </a:lnTo>
                <a:lnTo>
                  <a:pt x="332" y="280"/>
                </a:lnTo>
                <a:lnTo>
                  <a:pt x="332" y="280"/>
                </a:lnTo>
                <a:lnTo>
                  <a:pt x="340" y="290"/>
                </a:lnTo>
                <a:lnTo>
                  <a:pt x="340" y="290"/>
                </a:lnTo>
                <a:lnTo>
                  <a:pt x="328" y="306"/>
                </a:lnTo>
                <a:lnTo>
                  <a:pt x="328" y="306"/>
                </a:lnTo>
                <a:lnTo>
                  <a:pt x="324" y="298"/>
                </a:lnTo>
                <a:lnTo>
                  <a:pt x="320" y="292"/>
                </a:lnTo>
                <a:lnTo>
                  <a:pt x="320" y="292"/>
                </a:lnTo>
                <a:lnTo>
                  <a:pt x="312" y="284"/>
                </a:lnTo>
                <a:lnTo>
                  <a:pt x="296" y="276"/>
                </a:lnTo>
                <a:lnTo>
                  <a:pt x="274" y="266"/>
                </a:lnTo>
                <a:lnTo>
                  <a:pt x="244" y="254"/>
                </a:lnTo>
                <a:lnTo>
                  <a:pt x="244" y="254"/>
                </a:lnTo>
                <a:lnTo>
                  <a:pt x="234" y="250"/>
                </a:lnTo>
                <a:lnTo>
                  <a:pt x="228" y="246"/>
                </a:lnTo>
                <a:lnTo>
                  <a:pt x="224" y="240"/>
                </a:lnTo>
                <a:lnTo>
                  <a:pt x="224" y="234"/>
                </a:lnTo>
                <a:lnTo>
                  <a:pt x="224" y="234"/>
                </a:lnTo>
                <a:lnTo>
                  <a:pt x="224" y="218"/>
                </a:lnTo>
                <a:lnTo>
                  <a:pt x="224" y="218"/>
                </a:lnTo>
                <a:lnTo>
                  <a:pt x="228" y="210"/>
                </a:lnTo>
                <a:lnTo>
                  <a:pt x="232" y="200"/>
                </a:lnTo>
                <a:lnTo>
                  <a:pt x="238" y="186"/>
                </a:lnTo>
                <a:lnTo>
                  <a:pt x="238" y="186"/>
                </a:lnTo>
                <a:lnTo>
                  <a:pt x="242" y="184"/>
                </a:lnTo>
                <a:lnTo>
                  <a:pt x="248" y="180"/>
                </a:lnTo>
                <a:lnTo>
                  <a:pt x="252" y="174"/>
                </a:lnTo>
                <a:lnTo>
                  <a:pt x="254" y="164"/>
                </a:lnTo>
                <a:lnTo>
                  <a:pt x="254" y="164"/>
                </a:lnTo>
                <a:lnTo>
                  <a:pt x="256" y="156"/>
                </a:lnTo>
                <a:lnTo>
                  <a:pt x="254" y="148"/>
                </a:lnTo>
                <a:lnTo>
                  <a:pt x="252" y="142"/>
                </a:lnTo>
                <a:lnTo>
                  <a:pt x="248" y="140"/>
                </a:lnTo>
                <a:lnTo>
                  <a:pt x="248" y="140"/>
                </a:lnTo>
                <a:lnTo>
                  <a:pt x="250" y="98"/>
                </a:lnTo>
                <a:lnTo>
                  <a:pt x="250" y="98"/>
                </a:lnTo>
                <a:lnTo>
                  <a:pt x="248" y="86"/>
                </a:lnTo>
                <a:lnTo>
                  <a:pt x="244" y="76"/>
                </a:lnTo>
                <a:lnTo>
                  <a:pt x="242" y="74"/>
                </a:lnTo>
                <a:lnTo>
                  <a:pt x="238" y="70"/>
                </a:lnTo>
                <a:lnTo>
                  <a:pt x="234" y="68"/>
                </a:lnTo>
                <a:lnTo>
                  <a:pt x="228" y="68"/>
                </a:lnTo>
                <a:lnTo>
                  <a:pt x="228" y="68"/>
                </a:lnTo>
                <a:lnTo>
                  <a:pt x="224" y="64"/>
                </a:lnTo>
                <a:lnTo>
                  <a:pt x="218" y="60"/>
                </a:lnTo>
                <a:lnTo>
                  <a:pt x="208" y="56"/>
                </a:lnTo>
                <a:lnTo>
                  <a:pt x="196" y="56"/>
                </a:lnTo>
                <a:lnTo>
                  <a:pt x="196" y="56"/>
                </a:lnTo>
                <a:lnTo>
                  <a:pt x="182" y="58"/>
                </a:lnTo>
                <a:lnTo>
                  <a:pt x="170" y="62"/>
                </a:lnTo>
                <a:lnTo>
                  <a:pt x="158" y="66"/>
                </a:lnTo>
                <a:lnTo>
                  <a:pt x="146" y="68"/>
                </a:lnTo>
                <a:lnTo>
                  <a:pt x="146" y="68"/>
                </a:lnTo>
                <a:lnTo>
                  <a:pt x="142" y="68"/>
                </a:lnTo>
                <a:lnTo>
                  <a:pt x="140" y="70"/>
                </a:lnTo>
                <a:lnTo>
                  <a:pt x="136" y="78"/>
                </a:lnTo>
                <a:lnTo>
                  <a:pt x="134" y="88"/>
                </a:lnTo>
                <a:lnTo>
                  <a:pt x="134" y="98"/>
                </a:lnTo>
                <a:lnTo>
                  <a:pt x="134" y="98"/>
                </a:lnTo>
                <a:lnTo>
                  <a:pt x="136" y="140"/>
                </a:lnTo>
                <a:lnTo>
                  <a:pt x="136" y="140"/>
                </a:lnTo>
                <a:lnTo>
                  <a:pt x="132" y="142"/>
                </a:lnTo>
                <a:lnTo>
                  <a:pt x="130" y="148"/>
                </a:lnTo>
                <a:lnTo>
                  <a:pt x="128" y="156"/>
                </a:lnTo>
                <a:lnTo>
                  <a:pt x="128" y="164"/>
                </a:lnTo>
                <a:lnTo>
                  <a:pt x="128" y="164"/>
                </a:lnTo>
                <a:lnTo>
                  <a:pt x="132" y="174"/>
                </a:lnTo>
                <a:lnTo>
                  <a:pt x="136" y="180"/>
                </a:lnTo>
                <a:lnTo>
                  <a:pt x="142" y="184"/>
                </a:lnTo>
                <a:lnTo>
                  <a:pt x="146" y="186"/>
                </a:lnTo>
                <a:lnTo>
                  <a:pt x="146" y="186"/>
                </a:lnTo>
                <a:lnTo>
                  <a:pt x="152" y="200"/>
                </a:lnTo>
                <a:lnTo>
                  <a:pt x="156" y="210"/>
                </a:lnTo>
                <a:lnTo>
                  <a:pt x="160" y="218"/>
                </a:lnTo>
                <a:lnTo>
                  <a:pt x="160" y="218"/>
                </a:lnTo>
                <a:lnTo>
                  <a:pt x="160" y="234"/>
                </a:lnTo>
                <a:lnTo>
                  <a:pt x="160" y="234"/>
                </a:lnTo>
                <a:lnTo>
                  <a:pt x="160" y="240"/>
                </a:lnTo>
                <a:lnTo>
                  <a:pt x="156" y="246"/>
                </a:lnTo>
                <a:lnTo>
                  <a:pt x="150" y="250"/>
                </a:lnTo>
                <a:lnTo>
                  <a:pt x="140" y="254"/>
                </a:lnTo>
                <a:lnTo>
                  <a:pt x="140" y="254"/>
                </a:lnTo>
                <a:lnTo>
                  <a:pt x="110" y="266"/>
                </a:lnTo>
                <a:lnTo>
                  <a:pt x="88" y="276"/>
                </a:lnTo>
                <a:lnTo>
                  <a:pt x="72" y="284"/>
                </a:lnTo>
                <a:lnTo>
                  <a:pt x="64" y="292"/>
                </a:lnTo>
                <a:lnTo>
                  <a:pt x="64" y="292"/>
                </a:lnTo>
                <a:lnTo>
                  <a:pt x="60" y="298"/>
                </a:lnTo>
                <a:lnTo>
                  <a:pt x="56" y="306"/>
                </a:lnTo>
                <a:lnTo>
                  <a:pt x="56" y="306"/>
                </a:lnTo>
                <a:lnTo>
                  <a:pt x="44" y="290"/>
                </a:lnTo>
                <a:lnTo>
                  <a:pt x="44" y="290"/>
                </a:lnTo>
                <a:lnTo>
                  <a:pt x="52" y="280"/>
                </a:lnTo>
                <a:lnTo>
                  <a:pt x="52" y="280"/>
                </a:lnTo>
                <a:lnTo>
                  <a:pt x="62" y="270"/>
                </a:lnTo>
                <a:lnTo>
                  <a:pt x="78" y="260"/>
                </a:lnTo>
                <a:lnTo>
                  <a:pt x="102" y="250"/>
                </a:lnTo>
                <a:lnTo>
                  <a:pt x="134" y="238"/>
                </a:lnTo>
                <a:lnTo>
                  <a:pt x="134" y="238"/>
                </a:lnTo>
                <a:lnTo>
                  <a:pt x="134" y="238"/>
                </a:lnTo>
                <a:lnTo>
                  <a:pt x="134" y="238"/>
                </a:lnTo>
                <a:lnTo>
                  <a:pt x="132" y="236"/>
                </a:lnTo>
                <a:lnTo>
                  <a:pt x="130" y="232"/>
                </a:lnTo>
                <a:lnTo>
                  <a:pt x="130" y="226"/>
                </a:lnTo>
                <a:lnTo>
                  <a:pt x="130" y="226"/>
                </a:lnTo>
                <a:lnTo>
                  <a:pt x="130" y="214"/>
                </a:lnTo>
                <a:lnTo>
                  <a:pt x="130" y="214"/>
                </a:lnTo>
                <a:lnTo>
                  <a:pt x="134" y="204"/>
                </a:lnTo>
                <a:lnTo>
                  <a:pt x="134" y="204"/>
                </a:lnTo>
                <a:lnTo>
                  <a:pt x="132" y="200"/>
                </a:lnTo>
                <a:lnTo>
                  <a:pt x="132" y="200"/>
                </a:lnTo>
                <a:lnTo>
                  <a:pt x="126" y="194"/>
                </a:lnTo>
                <a:lnTo>
                  <a:pt x="120" y="186"/>
                </a:lnTo>
                <a:lnTo>
                  <a:pt x="114" y="178"/>
                </a:lnTo>
                <a:lnTo>
                  <a:pt x="112" y="168"/>
                </a:lnTo>
                <a:lnTo>
                  <a:pt x="112" y="168"/>
                </a:lnTo>
                <a:lnTo>
                  <a:pt x="110" y="158"/>
                </a:lnTo>
                <a:lnTo>
                  <a:pt x="112" y="148"/>
                </a:lnTo>
                <a:lnTo>
                  <a:pt x="114" y="140"/>
                </a:lnTo>
                <a:lnTo>
                  <a:pt x="118" y="132"/>
                </a:lnTo>
                <a:lnTo>
                  <a:pt x="118" y="132"/>
                </a:lnTo>
                <a:lnTo>
                  <a:pt x="116" y="98"/>
                </a:lnTo>
                <a:lnTo>
                  <a:pt x="116" y="98"/>
                </a:lnTo>
                <a:lnTo>
                  <a:pt x="116" y="98"/>
                </a:lnTo>
                <a:lnTo>
                  <a:pt x="116" y="98"/>
                </a:lnTo>
                <a:lnTo>
                  <a:pt x="110" y="96"/>
                </a:lnTo>
                <a:lnTo>
                  <a:pt x="104" y="96"/>
                </a:lnTo>
                <a:lnTo>
                  <a:pt x="104" y="96"/>
                </a:lnTo>
                <a:lnTo>
                  <a:pt x="94" y="96"/>
                </a:lnTo>
                <a:lnTo>
                  <a:pt x="86" y="98"/>
                </a:lnTo>
                <a:lnTo>
                  <a:pt x="80" y="102"/>
                </a:lnTo>
                <a:lnTo>
                  <a:pt x="76" y="104"/>
                </a:lnTo>
                <a:lnTo>
                  <a:pt x="76" y="104"/>
                </a:lnTo>
                <a:lnTo>
                  <a:pt x="70" y="106"/>
                </a:lnTo>
                <a:lnTo>
                  <a:pt x="66" y="112"/>
                </a:lnTo>
                <a:lnTo>
                  <a:pt x="64" y="118"/>
                </a:lnTo>
                <a:lnTo>
                  <a:pt x="64" y="128"/>
                </a:lnTo>
                <a:lnTo>
                  <a:pt x="64" y="128"/>
                </a:lnTo>
                <a:lnTo>
                  <a:pt x="64" y="156"/>
                </a:lnTo>
                <a:lnTo>
                  <a:pt x="64" y="156"/>
                </a:lnTo>
                <a:lnTo>
                  <a:pt x="62" y="158"/>
                </a:lnTo>
                <a:lnTo>
                  <a:pt x="60" y="162"/>
                </a:lnTo>
                <a:lnTo>
                  <a:pt x="58" y="168"/>
                </a:lnTo>
                <a:lnTo>
                  <a:pt x="60" y="176"/>
                </a:lnTo>
                <a:lnTo>
                  <a:pt x="60" y="176"/>
                </a:lnTo>
                <a:lnTo>
                  <a:pt x="62" y="182"/>
                </a:lnTo>
                <a:lnTo>
                  <a:pt x="66" y="186"/>
                </a:lnTo>
                <a:lnTo>
                  <a:pt x="70" y="190"/>
                </a:lnTo>
                <a:lnTo>
                  <a:pt x="72" y="190"/>
                </a:lnTo>
                <a:lnTo>
                  <a:pt x="72" y="190"/>
                </a:lnTo>
                <a:lnTo>
                  <a:pt x="76" y="200"/>
                </a:lnTo>
                <a:lnTo>
                  <a:pt x="78" y="208"/>
                </a:lnTo>
                <a:lnTo>
                  <a:pt x="82" y="214"/>
                </a:lnTo>
                <a:lnTo>
                  <a:pt x="82" y="214"/>
                </a:lnTo>
                <a:lnTo>
                  <a:pt x="82" y="226"/>
                </a:lnTo>
                <a:lnTo>
                  <a:pt x="82" y="226"/>
                </a:lnTo>
                <a:lnTo>
                  <a:pt x="82" y="230"/>
                </a:lnTo>
                <a:lnTo>
                  <a:pt x="80" y="234"/>
                </a:lnTo>
                <a:lnTo>
                  <a:pt x="78" y="238"/>
                </a:lnTo>
                <a:lnTo>
                  <a:pt x="70" y="240"/>
                </a:lnTo>
                <a:lnTo>
                  <a:pt x="70" y="240"/>
                </a:lnTo>
                <a:lnTo>
                  <a:pt x="28" y="258"/>
                </a:lnTo>
                <a:lnTo>
                  <a:pt x="28" y="258"/>
                </a:lnTo>
                <a:lnTo>
                  <a:pt x="22" y="242"/>
                </a:lnTo>
                <a:lnTo>
                  <a:pt x="18" y="226"/>
                </a:lnTo>
                <a:lnTo>
                  <a:pt x="16" y="210"/>
                </a:lnTo>
                <a:lnTo>
                  <a:pt x="14" y="192"/>
                </a:lnTo>
                <a:lnTo>
                  <a:pt x="14" y="192"/>
                </a:lnTo>
                <a:lnTo>
                  <a:pt x="16" y="174"/>
                </a:lnTo>
                <a:lnTo>
                  <a:pt x="18" y="156"/>
                </a:lnTo>
                <a:lnTo>
                  <a:pt x="22" y="140"/>
                </a:lnTo>
                <a:lnTo>
                  <a:pt x="28" y="122"/>
                </a:lnTo>
                <a:lnTo>
                  <a:pt x="36" y="108"/>
                </a:lnTo>
                <a:lnTo>
                  <a:pt x="44" y="92"/>
                </a:lnTo>
                <a:lnTo>
                  <a:pt x="56" y="80"/>
                </a:lnTo>
                <a:lnTo>
                  <a:pt x="66" y="66"/>
                </a:lnTo>
                <a:lnTo>
                  <a:pt x="80" y="56"/>
                </a:lnTo>
                <a:lnTo>
                  <a:pt x="92" y="44"/>
                </a:lnTo>
                <a:lnTo>
                  <a:pt x="108" y="36"/>
                </a:lnTo>
                <a:lnTo>
                  <a:pt x="122" y="28"/>
                </a:lnTo>
                <a:lnTo>
                  <a:pt x="140" y="22"/>
                </a:lnTo>
                <a:lnTo>
                  <a:pt x="156" y="18"/>
                </a:lnTo>
                <a:lnTo>
                  <a:pt x="174" y="16"/>
                </a:lnTo>
                <a:lnTo>
                  <a:pt x="192" y="14"/>
                </a:lnTo>
                <a:lnTo>
                  <a:pt x="192" y="14"/>
                </a:lnTo>
                <a:close/>
              </a:path>
            </a:pathLst>
          </a:custGeom>
          <a:solidFill>
            <a:schemeClr val="accent1">
              <a:lumMod val="60000"/>
              <a:lumOff val="40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cxnSp>
        <p:nvCxnSpPr>
          <p:cNvPr id="4" name="直接连接符 3">
            <a:extLst>
              <a:ext uri="{FF2B5EF4-FFF2-40B4-BE49-F238E27FC236}">
                <a16:creationId xmlns:a16="http://schemas.microsoft.com/office/drawing/2014/main" id="{DC147239-D9CE-45D0-94CE-DE8417E97B02}"/>
              </a:ext>
            </a:extLst>
          </p:cNvPr>
          <p:cNvCxnSpPr>
            <a:cxnSpLocks/>
          </p:cNvCxnSpPr>
          <p:nvPr/>
        </p:nvCxnSpPr>
        <p:spPr>
          <a:xfrm>
            <a:off x="983150" y="4951433"/>
            <a:ext cx="272787" cy="365109"/>
          </a:xfrm>
          <a:prstGeom prst="line">
            <a:avLst/>
          </a:prstGeom>
          <a:ln/>
        </p:spPr>
        <p:style>
          <a:lnRef idx="2">
            <a:schemeClr val="accent1"/>
          </a:lnRef>
          <a:fillRef idx="0">
            <a:schemeClr val="accent1"/>
          </a:fillRef>
          <a:effectRef idx="1">
            <a:schemeClr val="accent1"/>
          </a:effectRef>
          <a:fontRef idx="minor">
            <a:schemeClr val="tx1"/>
          </a:fontRef>
        </p:style>
      </p:cxnSp>
      <p:sp>
        <p:nvSpPr>
          <p:cNvPr id="67" name="矩形 66">
            <a:extLst>
              <a:ext uri="{FF2B5EF4-FFF2-40B4-BE49-F238E27FC236}">
                <a16:creationId xmlns:a16="http://schemas.microsoft.com/office/drawing/2014/main" id="{E6417838-FC0D-4615-9E9B-C1ECBF937275}"/>
              </a:ext>
            </a:extLst>
          </p:cNvPr>
          <p:cNvSpPr/>
          <p:nvPr/>
        </p:nvSpPr>
        <p:spPr>
          <a:xfrm>
            <a:off x="1299151" y="5027335"/>
            <a:ext cx="733173" cy="246382"/>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square" rtlCol="0" anchor="ctr"/>
          <a:lstStyle/>
          <a:p>
            <a:r>
              <a:rPr kumimoji="1" lang="zh-CN" altLang="en-US" sz="1000" b="1" dirty="0">
                <a:solidFill>
                  <a:srgbClr val="1A1918"/>
                </a:solidFill>
                <a:latin typeface="微软雅黑" panose="020B0503020204020204" pitchFamily="34" charset="-122"/>
                <a:ea typeface="微软雅黑" panose="020B0503020204020204" pitchFamily="34" charset="-122"/>
              </a:rPr>
              <a:t>不来源于人体血浆</a:t>
            </a:r>
          </a:p>
        </p:txBody>
      </p:sp>
      <p:sp>
        <p:nvSpPr>
          <p:cNvPr id="68" name="矩形 67">
            <a:extLst>
              <a:ext uri="{FF2B5EF4-FFF2-40B4-BE49-F238E27FC236}">
                <a16:creationId xmlns:a16="http://schemas.microsoft.com/office/drawing/2014/main" id="{C63CF327-C9D5-4621-AEF1-121A4D224C22}"/>
              </a:ext>
            </a:extLst>
          </p:cNvPr>
          <p:cNvSpPr/>
          <p:nvPr/>
        </p:nvSpPr>
        <p:spPr>
          <a:xfrm>
            <a:off x="2360630" y="5027335"/>
            <a:ext cx="707774" cy="246382"/>
          </a:xfrm>
          <a:prstGeom prst="rect">
            <a:avLst/>
          </a:prstGeom>
          <a:noFill/>
          <a:ln w="28575">
            <a:noFill/>
          </a:ln>
        </p:spPr>
        <p:style>
          <a:lnRef idx="1">
            <a:schemeClr val="accent1"/>
          </a:lnRef>
          <a:fillRef idx="0">
            <a:schemeClr val="accent1"/>
          </a:fillRef>
          <a:effectRef idx="0">
            <a:schemeClr val="accent1"/>
          </a:effectRef>
          <a:fontRef idx="minor">
            <a:schemeClr val="tx1"/>
          </a:fontRef>
        </p:style>
        <p:txBody>
          <a:bodyPr wrap="square" rtlCol="0" anchor="ctr"/>
          <a:lstStyle/>
          <a:p>
            <a:r>
              <a:rPr kumimoji="1" lang="zh-CN" altLang="en-US" sz="1000" b="1" dirty="0">
                <a:solidFill>
                  <a:srgbClr val="1A1918"/>
                </a:solidFill>
                <a:latin typeface="微软雅黑" panose="020B0503020204020204" pitchFamily="34" charset="-122"/>
                <a:ea typeface="微软雅黑" panose="020B0503020204020204" pitchFamily="34" charset="-122"/>
              </a:rPr>
              <a:t>半衰期长达两周</a:t>
            </a:r>
          </a:p>
        </p:txBody>
      </p:sp>
    </p:spTree>
    <p:extLst>
      <p:ext uri="{BB962C8B-B14F-4D97-AF65-F5344CB8AC3E}">
        <p14:creationId xmlns:p14="http://schemas.microsoft.com/office/powerpoint/2010/main" val="742384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F03376B-F0DC-4E45-A052-7BB7F2CF94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5" imgW="347" imgH="348" progId="TCLayout.ActiveDocument.1">
                  <p:embed/>
                </p:oleObj>
              </mc:Choice>
              <mc:Fallback>
                <p:oleObj name="think-cell 幻灯片" r:id="rId5" imgW="347" imgH="348" progId="TCLayout.ActiveDocument.1">
                  <p:embed/>
                  <p:pic>
                    <p:nvPicPr>
                      <p:cNvPr id="18" name="Object 17" hidden="1">
                        <a:extLst>
                          <a:ext uri="{FF2B5EF4-FFF2-40B4-BE49-F238E27FC236}">
                            <a16:creationId xmlns:a16="http://schemas.microsoft.com/office/drawing/2014/main" id="{AF03376B-F0DC-4E45-A052-7BB7F2CF943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0B2A641-EE1A-4353-B663-913BBED2AB49}"/>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800" b="1" i="0" u="none" strike="noStrike" kern="1200" cap="none" spc="0" normalizeH="0" baseline="0" noProof="0">
              <a:ln>
                <a:noFill/>
              </a:ln>
              <a:solidFill>
                <a:srgbClr val="FFFFFF"/>
              </a:solidFill>
              <a:effectLst/>
              <a:uLnTx/>
              <a:uFillTx/>
              <a:latin typeface="Calibri" panose="020F0502020204030204" pitchFamily="34" charset="0"/>
              <a:ea typeface="メイリオ" panose="020B0604030504040204" pitchFamily="50" charset="-128"/>
              <a:cs typeface="Calibri" panose="020F0502020204030204" pitchFamily="34" charset="0"/>
              <a:sym typeface="Calibri" panose="020F0502020204030204" pitchFamily="34" charset="0"/>
            </a:endParaRPr>
          </a:p>
        </p:txBody>
      </p:sp>
      <p:sp>
        <p:nvSpPr>
          <p:cNvPr id="37" name="Title 3">
            <a:extLst>
              <a:ext uri="{FF2B5EF4-FFF2-40B4-BE49-F238E27FC236}">
                <a16:creationId xmlns:a16="http://schemas.microsoft.com/office/drawing/2014/main" id="{8109A740-BC76-6447-9BA6-362E759DED0E}"/>
              </a:ext>
            </a:extLst>
          </p:cNvPr>
          <p:cNvSpPr>
            <a:spLocks noGrp="1"/>
          </p:cNvSpPr>
          <p:nvPr>
            <p:ph type="title"/>
          </p:nvPr>
        </p:nvSpPr>
        <p:spPr>
          <a:xfrm>
            <a:off x="1038225" y="209230"/>
            <a:ext cx="9508106" cy="685801"/>
          </a:xfrm>
        </p:spPr>
        <p:txBody>
          <a:bodyPr>
            <a:normAutofit/>
          </a:bodyPr>
          <a:lstStyle/>
          <a:p>
            <a:r>
              <a:rPr lang="zh-CN" altLang="en-US" sz="3200">
                <a:solidFill>
                  <a:srgbClr val="1A1918"/>
                </a:solidFill>
                <a:latin typeface="微软雅黑" panose="020B0503020204020204" pitchFamily="34" charset="-122"/>
                <a:ea typeface="微软雅黑" panose="020B0503020204020204" pitchFamily="34" charset="-122"/>
              </a:rPr>
              <a:t>公平性</a:t>
            </a:r>
          </a:p>
        </p:txBody>
      </p:sp>
      <p:sp>
        <p:nvSpPr>
          <p:cNvPr id="22" name="椭圆 21">
            <a:extLst>
              <a:ext uri="{FF2B5EF4-FFF2-40B4-BE49-F238E27FC236}">
                <a16:creationId xmlns:a16="http://schemas.microsoft.com/office/drawing/2014/main" id="{5F530736-32AD-42C7-B3FC-79FE10B74A3A}"/>
              </a:ext>
            </a:extLst>
          </p:cNvPr>
          <p:cNvSpPr/>
          <p:nvPr/>
        </p:nvSpPr>
        <p:spPr>
          <a:xfrm>
            <a:off x="616186" y="315174"/>
            <a:ext cx="360000" cy="360000"/>
          </a:xfrm>
          <a:prstGeom prst="ellipse">
            <a:avLst/>
          </a:prstGeom>
          <a:solidFill>
            <a:schemeClr val="accent2"/>
          </a:solidFill>
          <a:ln w="28575">
            <a:noFill/>
          </a:ln>
        </p:spPr>
        <p:style>
          <a:lnRef idx="1">
            <a:schemeClr val="accent1"/>
          </a:lnRef>
          <a:fillRef idx="0">
            <a:schemeClr val="accent1"/>
          </a:fillRef>
          <a:effectRef idx="0">
            <a:schemeClr val="accent1"/>
          </a:effectRef>
          <a:fontRef idx="minor">
            <a:schemeClr val="tx1"/>
          </a:fontRef>
        </p:style>
        <p:txBody>
          <a:bodyPr wrap="none" rtlCol="0" anchor="ctr"/>
          <a:lstStyle/>
          <a:p>
            <a:pPr algn="ctr"/>
            <a:r>
              <a:rPr kumimoji="1" lang="en-US" altLang="zh-CN" sz="1600" b="1" dirty="0">
                <a:solidFill>
                  <a:schemeClr val="bg1"/>
                </a:solidFill>
                <a:latin typeface="微软雅黑" panose="020B0503020204020204" pitchFamily="34" charset="-122"/>
                <a:ea typeface="微软雅黑" panose="020B0503020204020204" pitchFamily="34" charset="-122"/>
              </a:rPr>
              <a:t>5</a:t>
            </a:r>
            <a:endParaRPr kumimoji="1" lang="zh-CN" altLang="en-US" sz="1600" b="1" dirty="0">
              <a:solidFill>
                <a:schemeClr val="bg1"/>
              </a:solidFill>
              <a:latin typeface="微软雅黑" panose="020B0503020204020204" pitchFamily="34" charset="-122"/>
              <a:ea typeface="微软雅黑" panose="020B0503020204020204" pitchFamily="34" charset="-122"/>
            </a:endParaRPr>
          </a:p>
        </p:txBody>
      </p:sp>
      <p:sp>
        <p:nvSpPr>
          <p:cNvPr id="15" name="Text Placeholder 5">
            <a:extLst>
              <a:ext uri="{FF2B5EF4-FFF2-40B4-BE49-F238E27FC236}">
                <a16:creationId xmlns:a16="http://schemas.microsoft.com/office/drawing/2014/main" id="{B3732146-12B2-4F63-8D34-E17C53F16CFA}"/>
              </a:ext>
            </a:extLst>
          </p:cNvPr>
          <p:cNvSpPr txBox="1">
            <a:spLocks/>
          </p:cNvSpPr>
          <p:nvPr/>
        </p:nvSpPr>
        <p:spPr>
          <a:xfrm>
            <a:off x="1038222" y="817217"/>
            <a:ext cx="10853739" cy="685801"/>
          </a:xfrm>
          <a:prstGeom prst="rect">
            <a:avLst/>
          </a:prstGeom>
        </p:spPr>
        <p:txBody>
          <a:bodyPr/>
          <a:lstStyle>
            <a:lvl1pPr marL="457071" indent="-457071" algn="l" defTabSz="914150" rtl="0" eaLnBrk="1" latinLnBrk="0" hangingPunct="1">
              <a:spcBef>
                <a:spcPct val="20000"/>
              </a:spcBef>
              <a:buClr>
                <a:srgbClr val="4C4948"/>
              </a:buClr>
              <a:buFont typeface="Arial" panose="020B0604020202020204"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1pPr>
            <a:lvl2pPr marL="742745" indent="-285677" algn="l" defTabSz="914150" rtl="0" eaLnBrk="1" latinLnBrk="0" hangingPunct="1">
              <a:spcBef>
                <a:spcPct val="20000"/>
              </a:spcBef>
              <a:buClr>
                <a:srgbClr val="4C4948"/>
              </a:buClr>
              <a:buFont typeface="Arial" pitchFamily="34" charset="0"/>
              <a:buChar char="–"/>
              <a:defRPr kumimoji="1" sz="2000" b="0" i="0" kern="1200">
                <a:solidFill>
                  <a:schemeClr val="tx1"/>
                </a:solidFill>
                <a:latin typeface="Calibri" panose="020F0502020204030204" pitchFamily="34" charset="0"/>
                <a:ea typeface="メイリオ" pitchFamily="50" charset="-128"/>
                <a:cs typeface="Calibri" pitchFamily="34" charset="0"/>
              </a:defRPr>
            </a:lvl2pPr>
            <a:lvl3pPr marL="114269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3pPr>
            <a:lvl4pPr marL="1599760"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4pPr>
            <a:lvl5pPr marL="2056831" indent="-228541" algn="l" defTabSz="914150" rtl="0" eaLnBrk="1" latinLnBrk="0" hangingPunct="1">
              <a:spcBef>
                <a:spcPct val="20000"/>
              </a:spcBef>
              <a:buClr>
                <a:srgbClr val="4C4948"/>
              </a:buClr>
              <a:buFont typeface="Arial" pitchFamily="34" charset="0"/>
              <a:buChar char="»"/>
              <a:defRPr kumimoji="1" sz="2000" b="0" i="0" kern="1200" baseline="0">
                <a:solidFill>
                  <a:schemeClr val="tx1"/>
                </a:solidFill>
                <a:latin typeface="Calibri" panose="020F0502020204030204" pitchFamily="34" charset="0"/>
                <a:ea typeface="メイリオ" pitchFamily="50" charset="-128"/>
                <a:cs typeface="Calibri" pitchFamily="34" charset="0"/>
              </a:defRPr>
            </a:lvl5pPr>
            <a:lvl6pPr marL="2513910"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0986"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8061"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5142" indent="-228541" algn="l" defTabSz="91415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None/>
            </a:pPr>
            <a:r>
              <a:rPr lang="en-US" altLang="zh-CN" sz="1800" b="1" dirty="0">
                <a:solidFill>
                  <a:srgbClr val="1A1918"/>
                </a:solidFill>
                <a:latin typeface="微软雅黑" panose="020B0503020204020204" pitchFamily="34" charset="-122"/>
                <a:ea typeface="微软雅黑" panose="020B0503020204020204" pitchFamily="34" charset="-122"/>
              </a:rPr>
              <a:t>——</a:t>
            </a:r>
            <a:r>
              <a:rPr lang="zh-CN" altLang="en-US" sz="1800" b="1" dirty="0">
                <a:solidFill>
                  <a:srgbClr val="1A1918"/>
                </a:solidFill>
                <a:latin typeface="微软雅黑" panose="020B0503020204020204" pitchFamily="34" charset="-122"/>
                <a:ea typeface="微软雅黑" panose="020B0503020204020204" pitchFamily="34" charset="-122"/>
              </a:rPr>
              <a:t>拉那利尤单抗填补国家医保目录在</a:t>
            </a:r>
            <a:r>
              <a:rPr lang="en-US" altLang="zh-CN" sz="1800" b="1" dirty="0">
                <a:solidFill>
                  <a:srgbClr val="1A1918"/>
                </a:solidFill>
                <a:latin typeface="微软雅黑" panose="020B0503020204020204" pitchFamily="34" charset="-122"/>
                <a:ea typeface="微软雅黑" panose="020B0503020204020204" pitchFamily="34" charset="-122"/>
              </a:rPr>
              <a:t>HAE</a:t>
            </a:r>
            <a:r>
              <a:rPr lang="zh-CN" altLang="en-US" sz="1800" b="1" dirty="0">
                <a:solidFill>
                  <a:srgbClr val="1A1918"/>
                </a:solidFill>
                <a:latin typeface="微软雅黑" panose="020B0503020204020204" pitchFamily="34" charset="-122"/>
                <a:ea typeface="微软雅黑" panose="020B0503020204020204" pitchFamily="34" charset="-122"/>
              </a:rPr>
              <a:t>针对性治疗药物的空白，可显著降低患者</a:t>
            </a:r>
            <a:r>
              <a:rPr lang="en-US" altLang="zh-CN" sz="1800" b="1" dirty="0">
                <a:solidFill>
                  <a:srgbClr val="1A1918"/>
                </a:solidFill>
                <a:latin typeface="微软雅黑" panose="020B0503020204020204" pitchFamily="34" charset="-122"/>
                <a:ea typeface="微软雅黑" panose="020B0503020204020204" pitchFamily="34" charset="-122"/>
              </a:rPr>
              <a:t>HAE</a:t>
            </a:r>
            <a:r>
              <a:rPr lang="zh-CN" altLang="en-US" sz="1800" b="1" dirty="0">
                <a:solidFill>
                  <a:srgbClr val="1A1918"/>
                </a:solidFill>
                <a:latin typeface="微软雅黑" panose="020B0503020204020204" pitchFamily="34" charset="-122"/>
                <a:ea typeface="微软雅黑" panose="020B0503020204020204" pitchFamily="34" charset="-122"/>
              </a:rPr>
              <a:t>发作频率，实现患者潜在“零发作”回归正常生活的愿望</a:t>
            </a:r>
          </a:p>
        </p:txBody>
      </p:sp>
      <p:grpSp>
        <p:nvGrpSpPr>
          <p:cNvPr id="163" name="Group 2">
            <a:extLst>
              <a:ext uri="{FF2B5EF4-FFF2-40B4-BE49-F238E27FC236}">
                <a16:creationId xmlns:a16="http://schemas.microsoft.com/office/drawing/2014/main" id="{9FCBFBF6-1D5D-4F3C-9DF7-C69530F79618}"/>
              </a:ext>
            </a:extLst>
          </p:cNvPr>
          <p:cNvGrpSpPr/>
          <p:nvPr/>
        </p:nvGrpSpPr>
        <p:grpSpPr>
          <a:xfrm>
            <a:off x="1135823" y="1800225"/>
            <a:ext cx="10186301" cy="4518382"/>
            <a:chOff x="866130" y="1696698"/>
            <a:chExt cx="7948468" cy="3554607"/>
          </a:xfrm>
        </p:grpSpPr>
        <p:sp>
          <p:nvSpPr>
            <p:cNvPr id="164" name="Freeform 66">
              <a:extLst>
                <a:ext uri="{FF2B5EF4-FFF2-40B4-BE49-F238E27FC236}">
                  <a16:creationId xmlns:a16="http://schemas.microsoft.com/office/drawing/2014/main" id="{5DB3EC47-427C-4F2B-898A-17413306C7D3}"/>
                </a:ext>
              </a:extLst>
            </p:cNvPr>
            <p:cNvSpPr>
              <a:spLocks/>
            </p:cNvSpPr>
            <p:nvPr/>
          </p:nvSpPr>
          <p:spPr bwMode="auto">
            <a:xfrm>
              <a:off x="2624256" y="1717150"/>
              <a:ext cx="854905" cy="288377"/>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65" name="Freeform 74">
              <a:extLst>
                <a:ext uri="{FF2B5EF4-FFF2-40B4-BE49-F238E27FC236}">
                  <a16:creationId xmlns:a16="http://schemas.microsoft.com/office/drawing/2014/main" id="{605CFDD0-54D2-417D-9306-0AD478EDB098}"/>
                </a:ext>
              </a:extLst>
            </p:cNvPr>
            <p:cNvSpPr>
              <a:spLocks/>
            </p:cNvSpPr>
            <p:nvPr/>
          </p:nvSpPr>
          <p:spPr bwMode="auto">
            <a:xfrm flipH="1">
              <a:off x="6210733" y="1718792"/>
              <a:ext cx="854905" cy="288377"/>
            </a:xfrm>
            <a:custGeom>
              <a:avLst/>
              <a:gdLst>
                <a:gd name="T0" fmla="*/ 0 w 836"/>
                <a:gd name="T1" fmla="*/ 282 h 282"/>
                <a:gd name="T2" fmla="*/ 836 w 836"/>
                <a:gd name="T3" fmla="*/ 282 h 282"/>
                <a:gd name="T4" fmla="*/ 836 w 836"/>
                <a:gd name="T5" fmla="*/ 0 h 282"/>
                <a:gd name="T6" fmla="*/ 268 w 836"/>
                <a:gd name="T7" fmla="*/ 0 h 282"/>
                <a:gd name="T8" fmla="*/ 268 w 836"/>
                <a:gd name="T9" fmla="*/ 0 h 282"/>
                <a:gd name="T10" fmla="*/ 262 w 836"/>
                <a:gd name="T11" fmla="*/ 2 h 282"/>
                <a:gd name="T12" fmla="*/ 242 w 836"/>
                <a:gd name="T13" fmla="*/ 4 h 282"/>
                <a:gd name="T14" fmla="*/ 228 w 836"/>
                <a:gd name="T15" fmla="*/ 8 h 282"/>
                <a:gd name="T16" fmla="*/ 210 w 836"/>
                <a:gd name="T17" fmla="*/ 14 h 282"/>
                <a:gd name="T18" fmla="*/ 192 w 836"/>
                <a:gd name="T19" fmla="*/ 22 h 282"/>
                <a:gd name="T20" fmla="*/ 172 w 836"/>
                <a:gd name="T21" fmla="*/ 32 h 282"/>
                <a:gd name="T22" fmla="*/ 152 w 836"/>
                <a:gd name="T23" fmla="*/ 48 h 282"/>
                <a:gd name="T24" fmla="*/ 130 w 836"/>
                <a:gd name="T25" fmla="*/ 66 h 282"/>
                <a:gd name="T26" fmla="*/ 108 w 836"/>
                <a:gd name="T27" fmla="*/ 88 h 282"/>
                <a:gd name="T28" fmla="*/ 84 w 836"/>
                <a:gd name="T29" fmla="*/ 116 h 282"/>
                <a:gd name="T30" fmla="*/ 62 w 836"/>
                <a:gd name="T31" fmla="*/ 148 h 282"/>
                <a:gd name="T32" fmla="*/ 40 w 836"/>
                <a:gd name="T33" fmla="*/ 186 h 282"/>
                <a:gd name="T34" fmla="*/ 20 w 836"/>
                <a:gd name="T35" fmla="*/ 230 h 282"/>
                <a:gd name="T36" fmla="*/ 0 w 836"/>
                <a:gd name="T37" fmla="*/ 282 h 282"/>
                <a:gd name="T38" fmla="*/ 0 w 836"/>
                <a:gd name="T39"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2">
                  <a:moveTo>
                    <a:pt x="0" y="282"/>
                  </a:moveTo>
                  <a:lnTo>
                    <a:pt x="836" y="282"/>
                  </a:lnTo>
                  <a:lnTo>
                    <a:pt x="836" y="0"/>
                  </a:lnTo>
                  <a:lnTo>
                    <a:pt x="268" y="0"/>
                  </a:lnTo>
                  <a:lnTo>
                    <a:pt x="268" y="0"/>
                  </a:lnTo>
                  <a:lnTo>
                    <a:pt x="262" y="2"/>
                  </a:lnTo>
                  <a:lnTo>
                    <a:pt x="242" y="4"/>
                  </a:lnTo>
                  <a:lnTo>
                    <a:pt x="228" y="8"/>
                  </a:lnTo>
                  <a:lnTo>
                    <a:pt x="210" y="14"/>
                  </a:lnTo>
                  <a:lnTo>
                    <a:pt x="192" y="22"/>
                  </a:lnTo>
                  <a:lnTo>
                    <a:pt x="172" y="32"/>
                  </a:lnTo>
                  <a:lnTo>
                    <a:pt x="152" y="48"/>
                  </a:lnTo>
                  <a:lnTo>
                    <a:pt x="130" y="66"/>
                  </a:lnTo>
                  <a:lnTo>
                    <a:pt x="108" y="88"/>
                  </a:lnTo>
                  <a:lnTo>
                    <a:pt x="84" y="116"/>
                  </a:lnTo>
                  <a:lnTo>
                    <a:pt x="62" y="148"/>
                  </a:lnTo>
                  <a:lnTo>
                    <a:pt x="40" y="186"/>
                  </a:lnTo>
                  <a:lnTo>
                    <a:pt x="20" y="230"/>
                  </a:lnTo>
                  <a:lnTo>
                    <a:pt x="0" y="282"/>
                  </a:lnTo>
                  <a:lnTo>
                    <a:pt x="0" y="282"/>
                  </a:lnTo>
                  <a:close/>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66" name="Freeform 32">
              <a:extLst>
                <a:ext uri="{FF2B5EF4-FFF2-40B4-BE49-F238E27FC236}">
                  <a16:creationId xmlns:a16="http://schemas.microsoft.com/office/drawing/2014/main" id="{05BC3F83-BFA7-42F1-973F-C9EA4411ED6D}"/>
                </a:ext>
              </a:extLst>
            </p:cNvPr>
            <p:cNvSpPr>
              <a:spLocks/>
            </p:cNvSpPr>
            <p:nvPr/>
          </p:nvSpPr>
          <p:spPr bwMode="auto">
            <a:xfrm flipV="1">
              <a:off x="6228371" y="1723425"/>
              <a:ext cx="854906" cy="28633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baseline="-25000"/>
            </a:p>
          </p:txBody>
        </p:sp>
        <p:sp>
          <p:nvSpPr>
            <p:cNvPr id="167" name="Freeform 32">
              <a:extLst>
                <a:ext uri="{FF2B5EF4-FFF2-40B4-BE49-F238E27FC236}">
                  <a16:creationId xmlns:a16="http://schemas.microsoft.com/office/drawing/2014/main" id="{87C333EA-0FBB-4F76-BB2D-48A65140CDC9}"/>
                </a:ext>
              </a:extLst>
            </p:cNvPr>
            <p:cNvSpPr>
              <a:spLocks/>
            </p:cNvSpPr>
            <p:nvPr/>
          </p:nvSpPr>
          <p:spPr bwMode="auto">
            <a:xfrm flipH="1" flipV="1">
              <a:off x="2585554" y="1732132"/>
              <a:ext cx="854906" cy="28633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bg1">
                <a:lumMod val="65000"/>
              </a:schemeClr>
            </a:solidFill>
            <a:ln w="9525">
              <a:noFill/>
              <a:round/>
              <a:headEnd/>
              <a:tailEnd/>
            </a:ln>
          </p:spPr>
          <p:txBody>
            <a:bodyPr vert="horz" wrap="square" lIns="76828" tIns="38415" rIns="76828" bIns="38415" numCol="1" anchor="t" anchorCtr="0" compatLnSpc="1">
              <a:prstTxWarp prst="textNoShape">
                <a:avLst/>
              </a:prstTxWarp>
            </a:bodyPr>
            <a:lstStyle/>
            <a:p>
              <a:endParaRPr lang="en-GB" sz="1680" baseline="-25000"/>
            </a:p>
          </p:txBody>
        </p:sp>
        <p:sp>
          <p:nvSpPr>
            <p:cNvPr id="168" name="Rectangle 7">
              <a:extLst>
                <a:ext uri="{FF2B5EF4-FFF2-40B4-BE49-F238E27FC236}">
                  <a16:creationId xmlns:a16="http://schemas.microsoft.com/office/drawing/2014/main" id="{AB3A1F05-9907-419D-AD83-5AD52D71EE6B}"/>
                </a:ext>
              </a:extLst>
            </p:cNvPr>
            <p:cNvSpPr>
              <a:spLocks noChangeArrowheads="1"/>
            </p:cNvSpPr>
            <p:nvPr/>
          </p:nvSpPr>
          <p:spPr bwMode="auto">
            <a:xfrm>
              <a:off x="866130" y="2005529"/>
              <a:ext cx="7948468" cy="2936947"/>
            </a:xfrm>
            <a:prstGeom prst="rect">
              <a:avLst/>
            </a:prstGeom>
            <a:noFill/>
            <a:ln w="3175">
              <a:solidFill>
                <a:schemeClr val="bg1">
                  <a:lumMod val="65000"/>
                </a:schemeClr>
              </a:solidFill>
              <a:miter lim="800000"/>
              <a:headEnd/>
              <a:tailEnd/>
            </a:ln>
            <a:extLst>
              <a:ext uri="{909E8E84-426E-40DD-AFC4-6F175D3DCCD1}">
                <a14:hiddenFill xmlns:a14="http://schemas.microsoft.com/office/drawing/2010/main">
                  <a:solidFill>
                    <a:srgbClr val="FFFFFF"/>
                  </a:solidFill>
                </a14:hiddenFill>
              </a:ext>
            </a:extLst>
          </p:spPr>
          <p:txBody>
            <a:bodyPr vert="horz" wrap="square" lIns="76828" tIns="38415" rIns="76828" bIns="38415" numCol="1" anchor="t" anchorCtr="0" compatLnSpc="1">
              <a:prstTxWarp prst="textNoShape">
                <a:avLst/>
              </a:prstTxWarp>
            </a:bodyPr>
            <a:lstStyle/>
            <a:p>
              <a:endParaRPr lang="en-GB" sz="1680"/>
            </a:p>
          </p:txBody>
        </p:sp>
        <p:sp>
          <p:nvSpPr>
            <p:cNvPr id="169" name="Freeform 31">
              <a:extLst>
                <a:ext uri="{FF2B5EF4-FFF2-40B4-BE49-F238E27FC236}">
                  <a16:creationId xmlns:a16="http://schemas.microsoft.com/office/drawing/2014/main" id="{730366AE-0D9C-488F-BF72-44F98B893F7C}"/>
                </a:ext>
              </a:extLst>
            </p:cNvPr>
            <p:cNvSpPr>
              <a:spLocks/>
            </p:cNvSpPr>
            <p:nvPr/>
          </p:nvSpPr>
          <p:spPr bwMode="auto">
            <a:xfrm>
              <a:off x="2806282" y="1696698"/>
              <a:ext cx="2008414" cy="1233273"/>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70" name="Rectangle 68">
              <a:extLst>
                <a:ext uri="{FF2B5EF4-FFF2-40B4-BE49-F238E27FC236}">
                  <a16:creationId xmlns:a16="http://schemas.microsoft.com/office/drawing/2014/main" id="{CAE875AA-B702-478A-810D-B59362C13A81}"/>
                </a:ext>
              </a:extLst>
            </p:cNvPr>
            <p:cNvSpPr/>
            <p:nvPr/>
          </p:nvSpPr>
          <p:spPr>
            <a:xfrm rot="2677252">
              <a:off x="3545574" y="2114416"/>
              <a:ext cx="1224769" cy="290553"/>
            </a:xfrm>
            <a:prstGeom prst="rect">
              <a:avLst/>
            </a:prstGeom>
            <a:noFill/>
          </p:spPr>
          <p:txBody>
            <a:bodyPr wrap="square">
              <a:spAutoFit/>
            </a:bodyPr>
            <a:lstStyle/>
            <a:p>
              <a:pPr algn="ctr"/>
              <a:r>
                <a:rPr lang="zh-CN" altLang="en-US" b="1" dirty="0">
                  <a:solidFill>
                    <a:srgbClr val="1A1918"/>
                  </a:solidFill>
                  <a:latin typeface="微软雅黑" panose="020B0503020204020204" pitchFamily="34" charset="-122"/>
                  <a:ea typeface="微软雅黑" panose="020B0503020204020204" pitchFamily="34" charset="-122"/>
                </a:rPr>
                <a:t>患者负担沉重</a:t>
              </a:r>
            </a:p>
          </p:txBody>
        </p:sp>
        <p:sp>
          <p:nvSpPr>
            <p:cNvPr id="171" name="Freeform 32">
              <a:extLst>
                <a:ext uri="{FF2B5EF4-FFF2-40B4-BE49-F238E27FC236}">
                  <a16:creationId xmlns:a16="http://schemas.microsoft.com/office/drawing/2014/main" id="{609DF2DA-9E19-46D4-8FE6-FEAADC644744}"/>
                </a:ext>
              </a:extLst>
            </p:cNvPr>
            <p:cNvSpPr>
              <a:spLocks/>
            </p:cNvSpPr>
            <p:nvPr/>
          </p:nvSpPr>
          <p:spPr bwMode="auto">
            <a:xfrm>
              <a:off x="6198460" y="4942475"/>
              <a:ext cx="854906" cy="28633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74" name="Freeform 35">
              <a:extLst>
                <a:ext uri="{FF2B5EF4-FFF2-40B4-BE49-F238E27FC236}">
                  <a16:creationId xmlns:a16="http://schemas.microsoft.com/office/drawing/2014/main" id="{D5E4A222-3525-4BDA-84DF-DCD600BE38F5}"/>
                </a:ext>
              </a:extLst>
            </p:cNvPr>
            <p:cNvSpPr>
              <a:spLocks/>
            </p:cNvSpPr>
            <p:nvPr/>
          </p:nvSpPr>
          <p:spPr bwMode="auto">
            <a:xfrm>
              <a:off x="4875198" y="4018032"/>
              <a:ext cx="2008415" cy="1233273"/>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93" name="Rectangle 72">
              <a:extLst>
                <a:ext uri="{FF2B5EF4-FFF2-40B4-BE49-F238E27FC236}">
                  <a16:creationId xmlns:a16="http://schemas.microsoft.com/office/drawing/2014/main" id="{9EC49405-2F30-4546-A8F4-BCB6F62EEE18}"/>
                </a:ext>
              </a:extLst>
            </p:cNvPr>
            <p:cNvSpPr/>
            <p:nvPr/>
          </p:nvSpPr>
          <p:spPr>
            <a:xfrm rot="2623787">
              <a:off x="4988676" y="4380025"/>
              <a:ext cx="1011284" cy="503699"/>
            </a:xfrm>
            <a:prstGeom prst="rect">
              <a:avLst/>
            </a:prstGeom>
            <a:noFill/>
          </p:spPr>
          <p:txBody>
            <a:bodyPr wrap="square">
              <a:spAutoFit/>
            </a:bodyPr>
            <a:lstStyle/>
            <a:p>
              <a:pPr algn="ctr"/>
              <a:r>
                <a:rPr lang="zh-CN" altLang="en-US" b="1" dirty="0">
                  <a:solidFill>
                    <a:srgbClr val="1A1918"/>
                  </a:solidFill>
                  <a:latin typeface="微软雅黑" panose="020B0503020204020204" pitchFamily="34" charset="-122"/>
                  <a:ea typeface="微软雅黑" panose="020B0503020204020204" pitchFamily="34" charset="-122"/>
                </a:rPr>
                <a:t>临床管理难度低</a:t>
              </a:r>
              <a:endParaRPr lang="en-GB" b="1" dirty="0">
                <a:solidFill>
                  <a:srgbClr val="1A1918"/>
                </a:solidFill>
                <a:latin typeface="微软雅黑" panose="020B0503020204020204" pitchFamily="34" charset="-122"/>
                <a:ea typeface="微软雅黑" panose="020B0503020204020204" pitchFamily="34" charset="-122"/>
              </a:endParaRPr>
            </a:p>
          </p:txBody>
        </p:sp>
        <p:sp>
          <p:nvSpPr>
            <p:cNvPr id="194" name="Freeform 31">
              <a:extLst>
                <a:ext uri="{FF2B5EF4-FFF2-40B4-BE49-F238E27FC236}">
                  <a16:creationId xmlns:a16="http://schemas.microsoft.com/office/drawing/2014/main" id="{BFF73F86-6230-468A-A3FF-DD4187C96FA3}"/>
                </a:ext>
              </a:extLst>
            </p:cNvPr>
            <p:cNvSpPr>
              <a:spLocks/>
            </p:cNvSpPr>
            <p:nvPr/>
          </p:nvSpPr>
          <p:spPr bwMode="auto">
            <a:xfrm flipH="1">
              <a:off x="4875198" y="1698340"/>
              <a:ext cx="2008414" cy="1233273"/>
            </a:xfrm>
            <a:custGeom>
              <a:avLst/>
              <a:gdLst>
                <a:gd name="T0" fmla="*/ 1962 w 1964"/>
                <a:gd name="T1" fmla="*/ 394 h 1206"/>
                <a:gd name="T2" fmla="*/ 1960 w 1964"/>
                <a:gd name="T3" fmla="*/ 384 h 1206"/>
                <a:gd name="T4" fmla="*/ 1954 w 1964"/>
                <a:gd name="T5" fmla="*/ 368 h 1206"/>
                <a:gd name="T6" fmla="*/ 1948 w 1964"/>
                <a:gd name="T7" fmla="*/ 362 h 1206"/>
                <a:gd name="T8" fmla="*/ 1932 w 1964"/>
                <a:gd name="T9" fmla="*/ 350 h 1206"/>
                <a:gd name="T10" fmla="*/ 1912 w 1964"/>
                <a:gd name="T11" fmla="*/ 346 h 1206"/>
                <a:gd name="T12" fmla="*/ 1894 w 1964"/>
                <a:gd name="T13" fmla="*/ 350 h 1206"/>
                <a:gd name="T14" fmla="*/ 1876 w 1964"/>
                <a:gd name="T15" fmla="*/ 360 h 1206"/>
                <a:gd name="T16" fmla="*/ 1738 w 1964"/>
                <a:gd name="T17" fmla="*/ 410 h 1206"/>
                <a:gd name="T18" fmla="*/ 1444 w 1964"/>
                <a:gd name="T19" fmla="*/ 116 h 1206"/>
                <a:gd name="T20" fmla="*/ 1402 w 1964"/>
                <a:gd name="T21" fmla="*/ 76 h 1206"/>
                <a:gd name="T22" fmla="*/ 1356 w 1964"/>
                <a:gd name="T23" fmla="*/ 40 h 1206"/>
                <a:gd name="T24" fmla="*/ 1310 w 1964"/>
                <a:gd name="T25" fmla="*/ 14 h 1206"/>
                <a:gd name="T26" fmla="*/ 1276 w 1964"/>
                <a:gd name="T27" fmla="*/ 4 h 1206"/>
                <a:gd name="T28" fmla="*/ 1264 w 1964"/>
                <a:gd name="T29" fmla="*/ 4 h 1206"/>
                <a:gd name="T30" fmla="*/ 334 w 1964"/>
                <a:gd name="T31" fmla="*/ 0 h 1206"/>
                <a:gd name="T32" fmla="*/ 138 w 1964"/>
                <a:gd name="T33" fmla="*/ 2 h 1206"/>
                <a:gd name="T34" fmla="*/ 114 w 1964"/>
                <a:gd name="T35" fmla="*/ 4 h 1206"/>
                <a:gd name="T36" fmla="*/ 74 w 1964"/>
                <a:gd name="T37" fmla="*/ 12 h 1206"/>
                <a:gd name="T38" fmla="*/ 42 w 1964"/>
                <a:gd name="T39" fmla="*/ 26 h 1206"/>
                <a:gd name="T40" fmla="*/ 0 w 1964"/>
                <a:gd name="T41" fmla="*/ 52 h 1206"/>
                <a:gd name="T42" fmla="*/ 16 w 1964"/>
                <a:gd name="T43" fmla="*/ 44 h 1206"/>
                <a:gd name="T44" fmla="*/ 54 w 1964"/>
                <a:gd name="T45" fmla="*/ 30 h 1206"/>
                <a:gd name="T46" fmla="*/ 92 w 1964"/>
                <a:gd name="T47" fmla="*/ 26 h 1206"/>
                <a:gd name="T48" fmla="*/ 132 w 1964"/>
                <a:gd name="T49" fmla="*/ 28 h 1206"/>
                <a:gd name="T50" fmla="*/ 172 w 1964"/>
                <a:gd name="T51" fmla="*/ 38 h 1206"/>
                <a:gd name="T52" fmla="*/ 214 w 1964"/>
                <a:gd name="T53" fmla="*/ 54 h 1206"/>
                <a:gd name="T54" fmla="*/ 256 w 1964"/>
                <a:gd name="T55" fmla="*/ 80 h 1206"/>
                <a:gd name="T56" fmla="*/ 298 w 1964"/>
                <a:gd name="T57" fmla="*/ 112 h 1206"/>
                <a:gd name="T58" fmla="*/ 1212 w 1964"/>
                <a:gd name="T59" fmla="*/ 1026 h 1206"/>
                <a:gd name="T60" fmla="*/ 1120 w 1964"/>
                <a:gd name="T61" fmla="*/ 1118 h 1206"/>
                <a:gd name="T62" fmla="*/ 1108 w 1964"/>
                <a:gd name="T63" fmla="*/ 1136 h 1206"/>
                <a:gd name="T64" fmla="*/ 1104 w 1964"/>
                <a:gd name="T65" fmla="*/ 1154 h 1206"/>
                <a:gd name="T66" fmla="*/ 1108 w 1964"/>
                <a:gd name="T67" fmla="*/ 1174 h 1206"/>
                <a:gd name="T68" fmla="*/ 1118 w 1964"/>
                <a:gd name="T69" fmla="*/ 1190 h 1206"/>
                <a:gd name="T70" fmla="*/ 1126 w 1964"/>
                <a:gd name="T71" fmla="*/ 1194 h 1206"/>
                <a:gd name="T72" fmla="*/ 1142 w 1964"/>
                <a:gd name="T73" fmla="*/ 1202 h 1206"/>
                <a:gd name="T74" fmla="*/ 1874 w 1964"/>
                <a:gd name="T75" fmla="*/ 1206 h 1206"/>
                <a:gd name="T76" fmla="*/ 1892 w 1964"/>
                <a:gd name="T77" fmla="*/ 1206 h 1206"/>
                <a:gd name="T78" fmla="*/ 1926 w 1964"/>
                <a:gd name="T79" fmla="*/ 1194 h 1206"/>
                <a:gd name="T80" fmla="*/ 1940 w 1964"/>
                <a:gd name="T81" fmla="*/ 1182 h 1206"/>
                <a:gd name="T82" fmla="*/ 1960 w 1964"/>
                <a:gd name="T83" fmla="*/ 1152 h 1206"/>
                <a:gd name="T84" fmla="*/ 1964 w 1964"/>
                <a:gd name="T85" fmla="*/ 1116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1964" y="1116"/>
                  </a:moveTo>
                  <a:lnTo>
                    <a:pt x="1962" y="394"/>
                  </a:lnTo>
                  <a:lnTo>
                    <a:pt x="1962" y="394"/>
                  </a:lnTo>
                  <a:lnTo>
                    <a:pt x="1960" y="384"/>
                  </a:lnTo>
                  <a:lnTo>
                    <a:pt x="1958" y="376"/>
                  </a:lnTo>
                  <a:lnTo>
                    <a:pt x="1954" y="368"/>
                  </a:lnTo>
                  <a:lnTo>
                    <a:pt x="1948" y="362"/>
                  </a:lnTo>
                  <a:lnTo>
                    <a:pt x="1948" y="362"/>
                  </a:lnTo>
                  <a:lnTo>
                    <a:pt x="1940" y="354"/>
                  </a:lnTo>
                  <a:lnTo>
                    <a:pt x="1932" y="350"/>
                  </a:lnTo>
                  <a:lnTo>
                    <a:pt x="1922" y="348"/>
                  </a:lnTo>
                  <a:lnTo>
                    <a:pt x="1912" y="346"/>
                  </a:lnTo>
                  <a:lnTo>
                    <a:pt x="1904" y="348"/>
                  </a:lnTo>
                  <a:lnTo>
                    <a:pt x="1894" y="350"/>
                  </a:lnTo>
                  <a:lnTo>
                    <a:pt x="1884" y="354"/>
                  </a:lnTo>
                  <a:lnTo>
                    <a:pt x="1876" y="360"/>
                  </a:lnTo>
                  <a:lnTo>
                    <a:pt x="1782" y="456"/>
                  </a:lnTo>
                  <a:lnTo>
                    <a:pt x="1738" y="410"/>
                  </a:lnTo>
                  <a:lnTo>
                    <a:pt x="1738" y="410"/>
                  </a:lnTo>
                  <a:lnTo>
                    <a:pt x="1444" y="116"/>
                  </a:lnTo>
                  <a:lnTo>
                    <a:pt x="1444" y="116"/>
                  </a:lnTo>
                  <a:lnTo>
                    <a:pt x="1402" y="76"/>
                  </a:lnTo>
                  <a:lnTo>
                    <a:pt x="1380" y="58"/>
                  </a:lnTo>
                  <a:lnTo>
                    <a:pt x="1356" y="40"/>
                  </a:lnTo>
                  <a:lnTo>
                    <a:pt x="1332" y="26"/>
                  </a:lnTo>
                  <a:lnTo>
                    <a:pt x="1310" y="14"/>
                  </a:lnTo>
                  <a:lnTo>
                    <a:pt x="1286" y="6"/>
                  </a:lnTo>
                  <a:lnTo>
                    <a:pt x="1276" y="4"/>
                  </a:lnTo>
                  <a:lnTo>
                    <a:pt x="1264" y="4"/>
                  </a:lnTo>
                  <a:lnTo>
                    <a:pt x="1264" y="4"/>
                  </a:lnTo>
                  <a:lnTo>
                    <a:pt x="716" y="2"/>
                  </a:lnTo>
                  <a:lnTo>
                    <a:pt x="334" y="0"/>
                  </a:lnTo>
                  <a:lnTo>
                    <a:pt x="200" y="0"/>
                  </a:lnTo>
                  <a:lnTo>
                    <a:pt x="138" y="2"/>
                  </a:lnTo>
                  <a:lnTo>
                    <a:pt x="138" y="2"/>
                  </a:lnTo>
                  <a:lnTo>
                    <a:pt x="114" y="4"/>
                  </a:lnTo>
                  <a:lnTo>
                    <a:pt x="92" y="8"/>
                  </a:lnTo>
                  <a:lnTo>
                    <a:pt x="74" y="12"/>
                  </a:lnTo>
                  <a:lnTo>
                    <a:pt x="58" y="18"/>
                  </a:lnTo>
                  <a:lnTo>
                    <a:pt x="42" y="26"/>
                  </a:lnTo>
                  <a:lnTo>
                    <a:pt x="28" y="34"/>
                  </a:lnTo>
                  <a:lnTo>
                    <a:pt x="0" y="52"/>
                  </a:lnTo>
                  <a:lnTo>
                    <a:pt x="0" y="52"/>
                  </a:lnTo>
                  <a:lnTo>
                    <a:pt x="16" y="44"/>
                  </a:lnTo>
                  <a:lnTo>
                    <a:pt x="36" y="36"/>
                  </a:lnTo>
                  <a:lnTo>
                    <a:pt x="54" y="30"/>
                  </a:lnTo>
                  <a:lnTo>
                    <a:pt x="74" y="28"/>
                  </a:lnTo>
                  <a:lnTo>
                    <a:pt x="92" y="26"/>
                  </a:lnTo>
                  <a:lnTo>
                    <a:pt x="112" y="26"/>
                  </a:lnTo>
                  <a:lnTo>
                    <a:pt x="132" y="28"/>
                  </a:lnTo>
                  <a:lnTo>
                    <a:pt x="152" y="32"/>
                  </a:lnTo>
                  <a:lnTo>
                    <a:pt x="172" y="38"/>
                  </a:lnTo>
                  <a:lnTo>
                    <a:pt x="194" y="44"/>
                  </a:lnTo>
                  <a:lnTo>
                    <a:pt x="214" y="54"/>
                  </a:lnTo>
                  <a:lnTo>
                    <a:pt x="234" y="66"/>
                  </a:lnTo>
                  <a:lnTo>
                    <a:pt x="256" y="80"/>
                  </a:lnTo>
                  <a:lnTo>
                    <a:pt x="276" y="94"/>
                  </a:lnTo>
                  <a:lnTo>
                    <a:pt x="298" y="112"/>
                  </a:lnTo>
                  <a:lnTo>
                    <a:pt x="318" y="132"/>
                  </a:lnTo>
                  <a:lnTo>
                    <a:pt x="1212" y="1026"/>
                  </a:lnTo>
                  <a:lnTo>
                    <a:pt x="1120" y="1118"/>
                  </a:lnTo>
                  <a:lnTo>
                    <a:pt x="1120" y="1118"/>
                  </a:lnTo>
                  <a:lnTo>
                    <a:pt x="1114" y="1126"/>
                  </a:lnTo>
                  <a:lnTo>
                    <a:pt x="1108" y="1136"/>
                  </a:lnTo>
                  <a:lnTo>
                    <a:pt x="1106" y="1146"/>
                  </a:lnTo>
                  <a:lnTo>
                    <a:pt x="1104" y="1154"/>
                  </a:lnTo>
                  <a:lnTo>
                    <a:pt x="1106" y="1164"/>
                  </a:lnTo>
                  <a:lnTo>
                    <a:pt x="1108" y="1174"/>
                  </a:lnTo>
                  <a:lnTo>
                    <a:pt x="1112" y="1182"/>
                  </a:lnTo>
                  <a:lnTo>
                    <a:pt x="1118" y="1190"/>
                  </a:lnTo>
                  <a:lnTo>
                    <a:pt x="1118" y="1190"/>
                  </a:lnTo>
                  <a:lnTo>
                    <a:pt x="1126" y="1194"/>
                  </a:lnTo>
                  <a:lnTo>
                    <a:pt x="1134" y="1200"/>
                  </a:lnTo>
                  <a:lnTo>
                    <a:pt x="1142" y="1202"/>
                  </a:lnTo>
                  <a:lnTo>
                    <a:pt x="1152" y="1204"/>
                  </a:lnTo>
                  <a:lnTo>
                    <a:pt x="1874" y="1206"/>
                  </a:lnTo>
                  <a:lnTo>
                    <a:pt x="1874" y="1206"/>
                  </a:lnTo>
                  <a:lnTo>
                    <a:pt x="1892" y="1206"/>
                  </a:lnTo>
                  <a:lnTo>
                    <a:pt x="1910" y="1202"/>
                  </a:lnTo>
                  <a:lnTo>
                    <a:pt x="1926" y="1194"/>
                  </a:lnTo>
                  <a:lnTo>
                    <a:pt x="1940" y="1182"/>
                  </a:lnTo>
                  <a:lnTo>
                    <a:pt x="1940" y="1182"/>
                  </a:lnTo>
                  <a:lnTo>
                    <a:pt x="1952" y="1168"/>
                  </a:lnTo>
                  <a:lnTo>
                    <a:pt x="1960" y="1152"/>
                  </a:lnTo>
                  <a:lnTo>
                    <a:pt x="1964" y="1134"/>
                  </a:lnTo>
                  <a:lnTo>
                    <a:pt x="1964" y="1116"/>
                  </a:lnTo>
                  <a:lnTo>
                    <a:pt x="1964" y="1116"/>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95" name="Rectangle 76">
              <a:extLst>
                <a:ext uri="{FF2B5EF4-FFF2-40B4-BE49-F238E27FC236}">
                  <a16:creationId xmlns:a16="http://schemas.microsoft.com/office/drawing/2014/main" id="{04EB5D41-4057-4520-9908-3AAED05F7C5C}"/>
                </a:ext>
              </a:extLst>
            </p:cNvPr>
            <p:cNvSpPr/>
            <p:nvPr/>
          </p:nvSpPr>
          <p:spPr>
            <a:xfrm rot="18922748" flipH="1">
              <a:off x="4974685" y="1999813"/>
              <a:ext cx="1150576" cy="503699"/>
            </a:xfrm>
            <a:prstGeom prst="rect">
              <a:avLst/>
            </a:prstGeom>
            <a:noFill/>
          </p:spPr>
          <p:txBody>
            <a:bodyPr wrap="square">
              <a:spAutoFit/>
            </a:bodyPr>
            <a:lstStyle/>
            <a:p>
              <a:pPr algn="ctr"/>
              <a:r>
                <a:rPr lang="zh-CN" altLang="en-US" b="1" dirty="0">
                  <a:solidFill>
                    <a:srgbClr val="1A1918"/>
                  </a:solidFill>
                  <a:latin typeface="微软雅黑" panose="020B0503020204020204" pitchFamily="34" charset="-122"/>
                  <a:ea typeface="微软雅黑" panose="020B0503020204020204" pitchFamily="34" charset="-122"/>
                </a:rPr>
                <a:t>符合“保基本”原则</a:t>
              </a:r>
            </a:p>
          </p:txBody>
        </p:sp>
        <p:sp>
          <p:nvSpPr>
            <p:cNvPr id="196" name="Freeform 32">
              <a:extLst>
                <a:ext uri="{FF2B5EF4-FFF2-40B4-BE49-F238E27FC236}">
                  <a16:creationId xmlns:a16="http://schemas.microsoft.com/office/drawing/2014/main" id="{276D0DC7-4809-470E-8CAC-A7BBDF1B5F05}"/>
                </a:ext>
              </a:extLst>
            </p:cNvPr>
            <p:cNvSpPr>
              <a:spLocks/>
            </p:cNvSpPr>
            <p:nvPr/>
          </p:nvSpPr>
          <p:spPr bwMode="auto">
            <a:xfrm flipH="1">
              <a:off x="2636529" y="4942475"/>
              <a:ext cx="854906" cy="286332"/>
            </a:xfrm>
            <a:custGeom>
              <a:avLst/>
              <a:gdLst>
                <a:gd name="T0" fmla="*/ 836 w 836"/>
                <a:gd name="T1" fmla="*/ 0 h 280"/>
                <a:gd name="T2" fmla="*/ 0 w 836"/>
                <a:gd name="T3" fmla="*/ 0 h 280"/>
                <a:gd name="T4" fmla="*/ 0 w 836"/>
                <a:gd name="T5" fmla="*/ 280 h 280"/>
                <a:gd name="T6" fmla="*/ 566 w 836"/>
                <a:gd name="T7" fmla="*/ 280 h 280"/>
                <a:gd name="T8" fmla="*/ 566 w 836"/>
                <a:gd name="T9" fmla="*/ 280 h 280"/>
                <a:gd name="T10" fmla="*/ 574 w 836"/>
                <a:gd name="T11" fmla="*/ 280 h 280"/>
                <a:gd name="T12" fmla="*/ 594 w 836"/>
                <a:gd name="T13" fmla="*/ 276 h 280"/>
                <a:gd name="T14" fmla="*/ 608 w 836"/>
                <a:gd name="T15" fmla="*/ 274 h 280"/>
                <a:gd name="T16" fmla="*/ 624 w 836"/>
                <a:gd name="T17" fmla="*/ 268 h 280"/>
                <a:gd name="T18" fmla="*/ 644 w 836"/>
                <a:gd name="T19" fmla="*/ 260 h 280"/>
                <a:gd name="T20" fmla="*/ 662 w 836"/>
                <a:gd name="T21" fmla="*/ 248 h 280"/>
                <a:gd name="T22" fmla="*/ 684 w 836"/>
                <a:gd name="T23" fmla="*/ 234 h 280"/>
                <a:gd name="T24" fmla="*/ 706 w 836"/>
                <a:gd name="T25" fmla="*/ 216 h 280"/>
                <a:gd name="T26" fmla="*/ 728 w 836"/>
                <a:gd name="T27" fmla="*/ 192 h 280"/>
                <a:gd name="T28" fmla="*/ 750 w 836"/>
                <a:gd name="T29" fmla="*/ 166 h 280"/>
                <a:gd name="T30" fmla="*/ 774 w 836"/>
                <a:gd name="T31" fmla="*/ 132 h 280"/>
                <a:gd name="T32" fmla="*/ 796 w 836"/>
                <a:gd name="T33" fmla="*/ 94 h 280"/>
                <a:gd name="T34" fmla="*/ 816 w 836"/>
                <a:gd name="T35" fmla="*/ 50 h 280"/>
                <a:gd name="T36" fmla="*/ 836 w 836"/>
                <a:gd name="T37" fmla="*/ 0 h 280"/>
                <a:gd name="T38" fmla="*/ 836 w 836"/>
                <a:gd name="T39"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36" h="280">
                  <a:moveTo>
                    <a:pt x="836" y="0"/>
                  </a:moveTo>
                  <a:lnTo>
                    <a:pt x="0" y="0"/>
                  </a:lnTo>
                  <a:lnTo>
                    <a:pt x="0" y="280"/>
                  </a:lnTo>
                  <a:lnTo>
                    <a:pt x="566" y="280"/>
                  </a:lnTo>
                  <a:lnTo>
                    <a:pt x="566" y="280"/>
                  </a:lnTo>
                  <a:lnTo>
                    <a:pt x="574" y="280"/>
                  </a:lnTo>
                  <a:lnTo>
                    <a:pt x="594" y="276"/>
                  </a:lnTo>
                  <a:lnTo>
                    <a:pt x="608" y="274"/>
                  </a:lnTo>
                  <a:lnTo>
                    <a:pt x="624" y="268"/>
                  </a:lnTo>
                  <a:lnTo>
                    <a:pt x="644" y="260"/>
                  </a:lnTo>
                  <a:lnTo>
                    <a:pt x="662" y="248"/>
                  </a:lnTo>
                  <a:lnTo>
                    <a:pt x="684" y="234"/>
                  </a:lnTo>
                  <a:lnTo>
                    <a:pt x="706" y="216"/>
                  </a:lnTo>
                  <a:lnTo>
                    <a:pt x="728" y="192"/>
                  </a:lnTo>
                  <a:lnTo>
                    <a:pt x="750" y="166"/>
                  </a:lnTo>
                  <a:lnTo>
                    <a:pt x="774" y="132"/>
                  </a:lnTo>
                  <a:lnTo>
                    <a:pt x="796" y="94"/>
                  </a:lnTo>
                  <a:lnTo>
                    <a:pt x="816" y="50"/>
                  </a:lnTo>
                  <a:lnTo>
                    <a:pt x="836" y="0"/>
                  </a:lnTo>
                  <a:lnTo>
                    <a:pt x="836" y="0"/>
                  </a:lnTo>
                  <a:close/>
                </a:path>
              </a:pathLst>
            </a:custGeom>
            <a:solidFill>
              <a:schemeClr val="bg1">
                <a:lumMod val="6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97" name="Freeform 35">
              <a:extLst>
                <a:ext uri="{FF2B5EF4-FFF2-40B4-BE49-F238E27FC236}">
                  <a16:creationId xmlns:a16="http://schemas.microsoft.com/office/drawing/2014/main" id="{46D9962E-7549-4C0C-98E7-227850F972BB}"/>
                </a:ext>
              </a:extLst>
            </p:cNvPr>
            <p:cNvSpPr>
              <a:spLocks/>
            </p:cNvSpPr>
            <p:nvPr/>
          </p:nvSpPr>
          <p:spPr bwMode="auto">
            <a:xfrm flipH="1">
              <a:off x="2806282" y="4018032"/>
              <a:ext cx="2008415" cy="1233273"/>
            </a:xfrm>
            <a:custGeom>
              <a:avLst/>
              <a:gdLst>
                <a:gd name="T0" fmla="*/ 2 w 1964"/>
                <a:gd name="T1" fmla="*/ 812 h 1206"/>
                <a:gd name="T2" fmla="*/ 4 w 1964"/>
                <a:gd name="T3" fmla="*/ 820 h 1206"/>
                <a:gd name="T4" fmla="*/ 10 w 1964"/>
                <a:gd name="T5" fmla="*/ 838 h 1206"/>
                <a:gd name="T6" fmla="*/ 16 w 1964"/>
                <a:gd name="T7" fmla="*/ 844 h 1206"/>
                <a:gd name="T8" fmla="*/ 32 w 1964"/>
                <a:gd name="T9" fmla="*/ 854 h 1206"/>
                <a:gd name="T10" fmla="*/ 52 w 1964"/>
                <a:gd name="T11" fmla="*/ 858 h 1206"/>
                <a:gd name="T12" fmla="*/ 70 w 1964"/>
                <a:gd name="T13" fmla="*/ 854 h 1206"/>
                <a:gd name="T14" fmla="*/ 88 w 1964"/>
                <a:gd name="T15" fmla="*/ 844 h 1206"/>
                <a:gd name="T16" fmla="*/ 226 w 1964"/>
                <a:gd name="T17" fmla="*/ 794 h 1206"/>
                <a:gd name="T18" fmla="*/ 520 w 1964"/>
                <a:gd name="T19" fmla="*/ 1090 h 1206"/>
                <a:gd name="T20" fmla="*/ 562 w 1964"/>
                <a:gd name="T21" fmla="*/ 1128 h 1206"/>
                <a:gd name="T22" fmla="*/ 608 w 1964"/>
                <a:gd name="T23" fmla="*/ 1164 h 1206"/>
                <a:gd name="T24" fmla="*/ 654 w 1964"/>
                <a:gd name="T25" fmla="*/ 1190 h 1206"/>
                <a:gd name="T26" fmla="*/ 688 w 1964"/>
                <a:gd name="T27" fmla="*/ 1200 h 1206"/>
                <a:gd name="T28" fmla="*/ 700 w 1964"/>
                <a:gd name="T29" fmla="*/ 1202 h 1206"/>
                <a:gd name="T30" fmla="*/ 1630 w 1964"/>
                <a:gd name="T31" fmla="*/ 1206 h 1206"/>
                <a:gd name="T32" fmla="*/ 1826 w 1964"/>
                <a:gd name="T33" fmla="*/ 1204 h 1206"/>
                <a:gd name="T34" fmla="*/ 1850 w 1964"/>
                <a:gd name="T35" fmla="*/ 1202 h 1206"/>
                <a:gd name="T36" fmla="*/ 1890 w 1964"/>
                <a:gd name="T37" fmla="*/ 1192 h 1206"/>
                <a:gd name="T38" fmla="*/ 1922 w 1964"/>
                <a:gd name="T39" fmla="*/ 1180 h 1206"/>
                <a:gd name="T40" fmla="*/ 1964 w 1964"/>
                <a:gd name="T41" fmla="*/ 1154 h 1206"/>
                <a:gd name="T42" fmla="*/ 1946 w 1964"/>
                <a:gd name="T43" fmla="*/ 1162 h 1206"/>
                <a:gd name="T44" fmla="*/ 1910 w 1964"/>
                <a:gd name="T45" fmla="*/ 1174 h 1206"/>
                <a:gd name="T46" fmla="*/ 1872 w 1964"/>
                <a:gd name="T47" fmla="*/ 1180 h 1206"/>
                <a:gd name="T48" fmla="*/ 1832 w 1964"/>
                <a:gd name="T49" fmla="*/ 1178 h 1206"/>
                <a:gd name="T50" fmla="*/ 1792 w 1964"/>
                <a:gd name="T51" fmla="*/ 1168 h 1206"/>
                <a:gd name="T52" fmla="*/ 1750 w 1964"/>
                <a:gd name="T53" fmla="*/ 1150 h 1206"/>
                <a:gd name="T54" fmla="*/ 1708 w 1964"/>
                <a:gd name="T55" fmla="*/ 1126 h 1206"/>
                <a:gd name="T56" fmla="*/ 1666 w 1964"/>
                <a:gd name="T57" fmla="*/ 1092 h 1206"/>
                <a:gd name="T58" fmla="*/ 752 w 1964"/>
                <a:gd name="T59" fmla="*/ 178 h 1206"/>
                <a:gd name="T60" fmla="*/ 844 w 1964"/>
                <a:gd name="T61" fmla="*/ 86 h 1206"/>
                <a:gd name="T62" fmla="*/ 856 w 1964"/>
                <a:gd name="T63" fmla="*/ 70 h 1206"/>
                <a:gd name="T64" fmla="*/ 860 w 1964"/>
                <a:gd name="T65" fmla="*/ 50 h 1206"/>
                <a:gd name="T66" fmla="*/ 856 w 1964"/>
                <a:gd name="T67" fmla="*/ 32 h 1206"/>
                <a:gd name="T68" fmla="*/ 846 w 1964"/>
                <a:gd name="T69" fmla="*/ 16 h 1206"/>
                <a:gd name="T70" fmla="*/ 838 w 1964"/>
                <a:gd name="T71" fmla="*/ 10 h 1206"/>
                <a:gd name="T72" fmla="*/ 822 w 1964"/>
                <a:gd name="T73" fmla="*/ 2 h 1206"/>
                <a:gd name="T74" fmla="*/ 90 w 1964"/>
                <a:gd name="T75" fmla="*/ 0 h 1206"/>
                <a:gd name="T76" fmla="*/ 72 w 1964"/>
                <a:gd name="T77" fmla="*/ 0 h 1206"/>
                <a:gd name="T78" fmla="*/ 38 w 1964"/>
                <a:gd name="T79" fmla="*/ 12 h 1206"/>
                <a:gd name="T80" fmla="*/ 24 w 1964"/>
                <a:gd name="T81" fmla="*/ 22 h 1206"/>
                <a:gd name="T82" fmla="*/ 4 w 1964"/>
                <a:gd name="T83" fmla="*/ 52 h 1206"/>
                <a:gd name="T84" fmla="*/ 0 w 1964"/>
                <a:gd name="T85" fmla="*/ 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964" h="1206">
                  <a:moveTo>
                    <a:pt x="0" y="90"/>
                  </a:moveTo>
                  <a:lnTo>
                    <a:pt x="2" y="812"/>
                  </a:lnTo>
                  <a:lnTo>
                    <a:pt x="2" y="812"/>
                  </a:lnTo>
                  <a:lnTo>
                    <a:pt x="4" y="820"/>
                  </a:lnTo>
                  <a:lnTo>
                    <a:pt x="6" y="830"/>
                  </a:lnTo>
                  <a:lnTo>
                    <a:pt x="10" y="838"/>
                  </a:lnTo>
                  <a:lnTo>
                    <a:pt x="16" y="844"/>
                  </a:lnTo>
                  <a:lnTo>
                    <a:pt x="16" y="844"/>
                  </a:lnTo>
                  <a:lnTo>
                    <a:pt x="24" y="850"/>
                  </a:lnTo>
                  <a:lnTo>
                    <a:pt x="32" y="854"/>
                  </a:lnTo>
                  <a:lnTo>
                    <a:pt x="42" y="858"/>
                  </a:lnTo>
                  <a:lnTo>
                    <a:pt x="52" y="858"/>
                  </a:lnTo>
                  <a:lnTo>
                    <a:pt x="60" y="858"/>
                  </a:lnTo>
                  <a:lnTo>
                    <a:pt x="70" y="854"/>
                  </a:lnTo>
                  <a:lnTo>
                    <a:pt x="80" y="850"/>
                  </a:lnTo>
                  <a:lnTo>
                    <a:pt x="88" y="844"/>
                  </a:lnTo>
                  <a:lnTo>
                    <a:pt x="180" y="750"/>
                  </a:lnTo>
                  <a:lnTo>
                    <a:pt x="226" y="794"/>
                  </a:lnTo>
                  <a:lnTo>
                    <a:pt x="226" y="794"/>
                  </a:lnTo>
                  <a:lnTo>
                    <a:pt x="520" y="1090"/>
                  </a:lnTo>
                  <a:lnTo>
                    <a:pt x="520" y="1090"/>
                  </a:lnTo>
                  <a:lnTo>
                    <a:pt x="562" y="1128"/>
                  </a:lnTo>
                  <a:lnTo>
                    <a:pt x="584" y="1148"/>
                  </a:lnTo>
                  <a:lnTo>
                    <a:pt x="608" y="1164"/>
                  </a:lnTo>
                  <a:lnTo>
                    <a:pt x="632" y="1180"/>
                  </a:lnTo>
                  <a:lnTo>
                    <a:pt x="654" y="1190"/>
                  </a:lnTo>
                  <a:lnTo>
                    <a:pt x="678" y="1198"/>
                  </a:lnTo>
                  <a:lnTo>
                    <a:pt x="688" y="1200"/>
                  </a:lnTo>
                  <a:lnTo>
                    <a:pt x="700" y="1202"/>
                  </a:lnTo>
                  <a:lnTo>
                    <a:pt x="700" y="1202"/>
                  </a:lnTo>
                  <a:lnTo>
                    <a:pt x="1248" y="1204"/>
                  </a:lnTo>
                  <a:lnTo>
                    <a:pt x="1630" y="1206"/>
                  </a:lnTo>
                  <a:lnTo>
                    <a:pt x="1764" y="1204"/>
                  </a:lnTo>
                  <a:lnTo>
                    <a:pt x="1826" y="1204"/>
                  </a:lnTo>
                  <a:lnTo>
                    <a:pt x="1826" y="1204"/>
                  </a:lnTo>
                  <a:lnTo>
                    <a:pt x="1850" y="1202"/>
                  </a:lnTo>
                  <a:lnTo>
                    <a:pt x="1872" y="1198"/>
                  </a:lnTo>
                  <a:lnTo>
                    <a:pt x="1890" y="1192"/>
                  </a:lnTo>
                  <a:lnTo>
                    <a:pt x="1906" y="1186"/>
                  </a:lnTo>
                  <a:lnTo>
                    <a:pt x="1922" y="1180"/>
                  </a:lnTo>
                  <a:lnTo>
                    <a:pt x="1936" y="1172"/>
                  </a:lnTo>
                  <a:lnTo>
                    <a:pt x="1964" y="1154"/>
                  </a:lnTo>
                  <a:lnTo>
                    <a:pt x="1964" y="1154"/>
                  </a:lnTo>
                  <a:lnTo>
                    <a:pt x="1946" y="1162"/>
                  </a:lnTo>
                  <a:lnTo>
                    <a:pt x="1928" y="1168"/>
                  </a:lnTo>
                  <a:lnTo>
                    <a:pt x="1910" y="1174"/>
                  </a:lnTo>
                  <a:lnTo>
                    <a:pt x="1890" y="1178"/>
                  </a:lnTo>
                  <a:lnTo>
                    <a:pt x="1872" y="1180"/>
                  </a:lnTo>
                  <a:lnTo>
                    <a:pt x="1852" y="1180"/>
                  </a:lnTo>
                  <a:lnTo>
                    <a:pt x="1832" y="1178"/>
                  </a:lnTo>
                  <a:lnTo>
                    <a:pt x="1812" y="1174"/>
                  </a:lnTo>
                  <a:lnTo>
                    <a:pt x="1792" y="1168"/>
                  </a:lnTo>
                  <a:lnTo>
                    <a:pt x="1770" y="1160"/>
                  </a:lnTo>
                  <a:lnTo>
                    <a:pt x="1750" y="1150"/>
                  </a:lnTo>
                  <a:lnTo>
                    <a:pt x="1730" y="1140"/>
                  </a:lnTo>
                  <a:lnTo>
                    <a:pt x="1708" y="1126"/>
                  </a:lnTo>
                  <a:lnTo>
                    <a:pt x="1688" y="1110"/>
                  </a:lnTo>
                  <a:lnTo>
                    <a:pt x="1666" y="1092"/>
                  </a:lnTo>
                  <a:lnTo>
                    <a:pt x="1646" y="1074"/>
                  </a:lnTo>
                  <a:lnTo>
                    <a:pt x="752" y="178"/>
                  </a:lnTo>
                  <a:lnTo>
                    <a:pt x="844" y="86"/>
                  </a:lnTo>
                  <a:lnTo>
                    <a:pt x="844" y="86"/>
                  </a:lnTo>
                  <a:lnTo>
                    <a:pt x="850" y="78"/>
                  </a:lnTo>
                  <a:lnTo>
                    <a:pt x="856" y="70"/>
                  </a:lnTo>
                  <a:lnTo>
                    <a:pt x="858" y="60"/>
                  </a:lnTo>
                  <a:lnTo>
                    <a:pt x="860" y="50"/>
                  </a:lnTo>
                  <a:lnTo>
                    <a:pt x="858" y="42"/>
                  </a:lnTo>
                  <a:lnTo>
                    <a:pt x="856" y="32"/>
                  </a:lnTo>
                  <a:lnTo>
                    <a:pt x="852" y="24"/>
                  </a:lnTo>
                  <a:lnTo>
                    <a:pt x="846" y="16"/>
                  </a:lnTo>
                  <a:lnTo>
                    <a:pt x="846" y="16"/>
                  </a:lnTo>
                  <a:lnTo>
                    <a:pt x="838" y="10"/>
                  </a:lnTo>
                  <a:lnTo>
                    <a:pt x="830" y="6"/>
                  </a:lnTo>
                  <a:lnTo>
                    <a:pt x="822" y="2"/>
                  </a:lnTo>
                  <a:lnTo>
                    <a:pt x="812" y="2"/>
                  </a:lnTo>
                  <a:lnTo>
                    <a:pt x="90" y="0"/>
                  </a:lnTo>
                  <a:lnTo>
                    <a:pt x="90" y="0"/>
                  </a:lnTo>
                  <a:lnTo>
                    <a:pt x="72" y="0"/>
                  </a:lnTo>
                  <a:lnTo>
                    <a:pt x="54" y="4"/>
                  </a:lnTo>
                  <a:lnTo>
                    <a:pt x="38" y="12"/>
                  </a:lnTo>
                  <a:lnTo>
                    <a:pt x="24" y="22"/>
                  </a:lnTo>
                  <a:lnTo>
                    <a:pt x="24" y="22"/>
                  </a:lnTo>
                  <a:lnTo>
                    <a:pt x="12" y="36"/>
                  </a:lnTo>
                  <a:lnTo>
                    <a:pt x="4" y="52"/>
                  </a:lnTo>
                  <a:lnTo>
                    <a:pt x="0" y="70"/>
                  </a:lnTo>
                  <a:lnTo>
                    <a:pt x="0" y="90"/>
                  </a:lnTo>
                  <a:lnTo>
                    <a:pt x="0" y="90"/>
                  </a:ln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828" tIns="38415" rIns="76828" bIns="38415" numCol="1" anchor="t" anchorCtr="0" compatLnSpc="1">
              <a:prstTxWarp prst="textNoShape">
                <a:avLst/>
              </a:prstTxWarp>
            </a:bodyPr>
            <a:lstStyle/>
            <a:p>
              <a:endParaRPr lang="en-GB" sz="1680"/>
            </a:p>
          </p:txBody>
        </p:sp>
        <p:sp>
          <p:nvSpPr>
            <p:cNvPr id="198" name="Rectangle 80">
              <a:extLst>
                <a:ext uri="{FF2B5EF4-FFF2-40B4-BE49-F238E27FC236}">
                  <a16:creationId xmlns:a16="http://schemas.microsoft.com/office/drawing/2014/main" id="{6A3E3E9C-89BB-4949-8ACB-AB419C72A8D2}"/>
                </a:ext>
              </a:extLst>
            </p:cNvPr>
            <p:cNvSpPr/>
            <p:nvPr/>
          </p:nvSpPr>
          <p:spPr>
            <a:xfrm rot="18976213" flipH="1">
              <a:off x="3588532" y="4546623"/>
              <a:ext cx="1214496" cy="290553"/>
            </a:xfrm>
            <a:prstGeom prst="rect">
              <a:avLst/>
            </a:prstGeom>
            <a:noFill/>
          </p:spPr>
          <p:txBody>
            <a:bodyPr wrap="square">
              <a:spAutoFit/>
            </a:bodyPr>
            <a:lstStyle/>
            <a:p>
              <a:pPr algn="ctr"/>
              <a:r>
                <a:rPr lang="zh-CN" altLang="en-US" b="1" dirty="0">
                  <a:solidFill>
                    <a:srgbClr val="1A1918"/>
                  </a:solidFill>
                  <a:latin typeface="微软雅黑" panose="020B0503020204020204" pitchFamily="34" charset="-122"/>
                  <a:ea typeface="微软雅黑" panose="020B0503020204020204" pitchFamily="34" charset="-122"/>
                </a:rPr>
                <a:t>弥补目录短板</a:t>
              </a:r>
              <a:endParaRPr lang="en-GB" b="1" dirty="0">
                <a:solidFill>
                  <a:srgbClr val="1A1918"/>
                </a:solidFill>
                <a:latin typeface="微软雅黑" panose="020B0503020204020204" pitchFamily="34" charset="-122"/>
                <a:ea typeface="微软雅黑" panose="020B0503020204020204" pitchFamily="34" charset="-122"/>
              </a:endParaRPr>
            </a:p>
          </p:txBody>
        </p:sp>
        <p:cxnSp>
          <p:nvCxnSpPr>
            <p:cNvPr id="199" name="Straight Connector 82">
              <a:extLst>
                <a:ext uri="{FF2B5EF4-FFF2-40B4-BE49-F238E27FC236}">
                  <a16:creationId xmlns:a16="http://schemas.microsoft.com/office/drawing/2014/main" id="{95A8CC7D-9C77-4C00-8922-A7616D89EBCE}"/>
                </a:ext>
              </a:extLst>
            </p:cNvPr>
            <p:cNvCxnSpPr/>
            <p:nvPr/>
          </p:nvCxnSpPr>
          <p:spPr>
            <a:xfrm flipV="1">
              <a:off x="6387737" y="2135727"/>
              <a:ext cx="0" cy="786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0" name="Straight Connector 86">
              <a:extLst>
                <a:ext uri="{FF2B5EF4-FFF2-40B4-BE49-F238E27FC236}">
                  <a16:creationId xmlns:a16="http://schemas.microsoft.com/office/drawing/2014/main" id="{7F948215-F526-400E-816D-6A3D080EF18F}"/>
                </a:ext>
              </a:extLst>
            </p:cNvPr>
            <p:cNvCxnSpPr/>
            <p:nvPr/>
          </p:nvCxnSpPr>
          <p:spPr>
            <a:xfrm flipV="1">
              <a:off x="6387737" y="4025842"/>
              <a:ext cx="0" cy="786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01" name="Rectangle 10">
              <a:extLst>
                <a:ext uri="{FF2B5EF4-FFF2-40B4-BE49-F238E27FC236}">
                  <a16:creationId xmlns:a16="http://schemas.microsoft.com/office/drawing/2014/main" id="{56D8978F-2B64-47FA-A5D4-6C8C50BB3DA3}"/>
                </a:ext>
              </a:extLst>
            </p:cNvPr>
            <p:cNvSpPr>
              <a:spLocks noChangeArrowheads="1"/>
            </p:cNvSpPr>
            <p:nvPr/>
          </p:nvSpPr>
          <p:spPr bwMode="auto">
            <a:xfrm>
              <a:off x="4106388" y="3204178"/>
              <a:ext cx="1504254" cy="67795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670946" eaLnBrk="0" hangingPunct="0">
                <a:spcAft>
                  <a:spcPts val="168"/>
                </a:spcAft>
                <a:defRPr/>
              </a:pPr>
              <a:r>
                <a:rPr lang="zh-CN" altLang="en-US" sz="2800" b="1" kern="0">
                  <a:solidFill>
                    <a:schemeClr val="accent2"/>
                  </a:solidFill>
                  <a:latin typeface="微软雅黑" panose="020B0503020204020204" pitchFamily="34" charset="-122"/>
                  <a:ea typeface="微软雅黑" panose="020B0503020204020204" pitchFamily="34" charset="-122"/>
                  <a:cs typeface="Arial" charset="0"/>
                </a:rPr>
                <a:t>体现公平性要求</a:t>
              </a:r>
              <a:endParaRPr lang="en-GB" sz="2800" kern="0">
                <a:solidFill>
                  <a:schemeClr val="accent2"/>
                </a:solidFill>
                <a:latin typeface="微软雅黑" panose="020B0503020204020204" pitchFamily="34" charset="-122"/>
                <a:ea typeface="微软雅黑" panose="020B0503020204020204" pitchFamily="34" charset="-122"/>
                <a:cs typeface="Arial" charset="0"/>
              </a:endParaRPr>
            </a:p>
          </p:txBody>
        </p:sp>
        <p:cxnSp>
          <p:nvCxnSpPr>
            <p:cNvPr id="202" name="Straight Connector 90">
              <a:extLst>
                <a:ext uri="{FF2B5EF4-FFF2-40B4-BE49-F238E27FC236}">
                  <a16:creationId xmlns:a16="http://schemas.microsoft.com/office/drawing/2014/main" id="{7505A278-4795-406A-BFEA-94148BA59844}"/>
                </a:ext>
              </a:extLst>
            </p:cNvPr>
            <p:cNvCxnSpPr/>
            <p:nvPr/>
          </p:nvCxnSpPr>
          <p:spPr>
            <a:xfrm flipV="1">
              <a:off x="3314225" y="2135727"/>
              <a:ext cx="0" cy="786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203" name="Straight Connector 94">
              <a:extLst>
                <a:ext uri="{FF2B5EF4-FFF2-40B4-BE49-F238E27FC236}">
                  <a16:creationId xmlns:a16="http://schemas.microsoft.com/office/drawing/2014/main" id="{8DDA973D-D4BA-4224-96B2-72124BC25DCB}"/>
                </a:ext>
              </a:extLst>
            </p:cNvPr>
            <p:cNvCxnSpPr/>
            <p:nvPr/>
          </p:nvCxnSpPr>
          <p:spPr>
            <a:xfrm flipV="1">
              <a:off x="3314225" y="4025842"/>
              <a:ext cx="0" cy="786433"/>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grpSp>
      <p:sp>
        <p:nvSpPr>
          <p:cNvPr id="204" name="矩形: 圆角 203">
            <a:extLst>
              <a:ext uri="{FF2B5EF4-FFF2-40B4-BE49-F238E27FC236}">
                <a16:creationId xmlns:a16="http://schemas.microsoft.com/office/drawing/2014/main" id="{FB28F259-EF60-47DF-9F59-B1E55D9FEA79}"/>
              </a:ext>
            </a:extLst>
          </p:cNvPr>
          <p:cNvSpPr/>
          <p:nvPr/>
        </p:nvSpPr>
        <p:spPr>
          <a:xfrm>
            <a:off x="1135823" y="2200629"/>
            <a:ext cx="3272755" cy="1293971"/>
          </a:xfrm>
          <a:prstGeom prst="roundRect">
            <a:avLst/>
          </a:prstGeom>
          <a:noFill/>
        </p:spPr>
        <p:txBody>
          <a:bodyPr wrap="square">
            <a:spAutoFit/>
          </a:bodyPr>
          <a:lstStyle/>
          <a:p>
            <a:r>
              <a:rPr lang="zh-CN" altLang="en-US" sz="1400" dirty="0">
                <a:solidFill>
                  <a:srgbClr val="1A1918"/>
                </a:solidFill>
                <a:latin typeface="微软雅黑" panose="020B0503020204020204" pitchFamily="34" charset="-122"/>
                <a:ea typeface="微软雅黑" panose="020B0503020204020204" pitchFamily="34" charset="-122"/>
              </a:rPr>
              <a:t>喉部水肿可致</a:t>
            </a:r>
            <a:r>
              <a:rPr lang="zh-CN" altLang="en-US" sz="1400" b="1" dirty="0">
                <a:solidFill>
                  <a:schemeClr val="accent2"/>
                </a:solidFill>
                <a:latin typeface="微软雅黑" panose="020B0503020204020204" pitchFamily="34" charset="-122"/>
                <a:ea typeface="微软雅黑" panose="020B0503020204020204" pitchFamily="34" charset="-122"/>
              </a:rPr>
              <a:t>呼吸困难或窒息，致死率最高达</a:t>
            </a:r>
            <a:r>
              <a:rPr lang="en-US" altLang="zh-CN" sz="1400" b="1" dirty="0">
                <a:solidFill>
                  <a:schemeClr val="accent2"/>
                </a:solidFill>
                <a:latin typeface="微软雅黑" panose="020B0503020204020204" pitchFamily="34" charset="-122"/>
                <a:ea typeface="微软雅黑" panose="020B0503020204020204" pitchFamily="34" charset="-122"/>
              </a:rPr>
              <a:t>40%</a:t>
            </a:r>
            <a:r>
              <a:rPr lang="zh-CN" altLang="en-US" sz="1400" dirty="0">
                <a:solidFill>
                  <a:srgbClr val="1A1918"/>
                </a:solidFill>
                <a:latin typeface="微软雅黑" panose="020B0503020204020204" pitchFamily="34" charset="-122"/>
                <a:ea typeface="微软雅黑" panose="020B0503020204020204" pitchFamily="34" charset="-122"/>
              </a:rPr>
              <a:t>；腹部水肿可致</a:t>
            </a:r>
            <a:r>
              <a:rPr lang="zh-CN" altLang="en-US" sz="1400" b="1" dirty="0">
                <a:solidFill>
                  <a:schemeClr val="accent2"/>
                </a:solidFill>
                <a:latin typeface="微软雅黑" panose="020B0503020204020204" pitchFamily="34" charset="-122"/>
                <a:ea typeface="微软雅黑" panose="020B0503020204020204" pitchFamily="34" charset="-122"/>
              </a:rPr>
              <a:t>剧烈腹痛</a:t>
            </a:r>
            <a:r>
              <a:rPr lang="zh-CN" altLang="en-US" sz="1400" dirty="0">
                <a:solidFill>
                  <a:srgbClr val="1A1918"/>
                </a:solidFill>
                <a:latin typeface="微软雅黑" panose="020B0503020204020204" pitchFamily="34" charset="-122"/>
                <a:ea typeface="微软雅黑" panose="020B0503020204020204" pitchFamily="34" charset="-122"/>
              </a:rPr>
              <a:t>，被误诊可能导致不必要手术；皮肤水肿</a:t>
            </a:r>
            <a:r>
              <a:rPr lang="zh-CN" altLang="en-US" sz="1400" b="1" dirty="0">
                <a:solidFill>
                  <a:schemeClr val="accent2"/>
                </a:solidFill>
                <a:latin typeface="微软雅黑" panose="020B0503020204020204" pitchFamily="34" charset="-122"/>
                <a:ea typeface="微软雅黑" panose="020B0503020204020204" pitchFamily="34" charset="-122"/>
              </a:rPr>
              <a:t>影响日常生活工作</a:t>
            </a:r>
            <a:r>
              <a:rPr lang="zh-CN" altLang="en-US" sz="1400" dirty="0">
                <a:solidFill>
                  <a:srgbClr val="1A1918"/>
                </a:solidFill>
                <a:latin typeface="微软雅黑" panose="020B0503020204020204" pitchFamily="34" charset="-122"/>
                <a:ea typeface="微软雅黑" panose="020B0503020204020204" pitchFamily="34" charset="-122"/>
              </a:rPr>
              <a:t>；患者</a:t>
            </a:r>
            <a:r>
              <a:rPr lang="zh-CN" altLang="en-US" sz="1400" b="1" dirty="0">
                <a:solidFill>
                  <a:schemeClr val="accent2"/>
                </a:solidFill>
                <a:latin typeface="微软雅黑" panose="020B0503020204020204" pitchFamily="34" charset="-122"/>
                <a:ea typeface="微软雅黑" panose="020B0503020204020204" pitchFamily="34" charset="-122"/>
              </a:rPr>
              <a:t>心理负担沉重</a:t>
            </a:r>
          </a:p>
        </p:txBody>
      </p:sp>
      <p:sp>
        <p:nvSpPr>
          <p:cNvPr id="205" name="矩形: 圆角 204">
            <a:extLst>
              <a:ext uri="{FF2B5EF4-FFF2-40B4-BE49-F238E27FC236}">
                <a16:creationId xmlns:a16="http://schemas.microsoft.com/office/drawing/2014/main" id="{796FC306-9CEA-41A9-9737-DED3A7CAF520}"/>
              </a:ext>
            </a:extLst>
          </p:cNvPr>
          <p:cNvSpPr/>
          <p:nvPr/>
        </p:nvSpPr>
        <p:spPr>
          <a:xfrm>
            <a:off x="1130618" y="4936140"/>
            <a:ext cx="3193037" cy="578882"/>
          </a:xfrm>
          <a:prstGeom prst="roundRect">
            <a:avLst/>
          </a:prstGeom>
          <a:noFill/>
        </p:spPr>
        <p:txBody>
          <a:bodyPr wrap="square">
            <a:spAutoFit/>
          </a:bodyPr>
          <a:lstStyle/>
          <a:p>
            <a:r>
              <a:rPr lang="zh-CN" altLang="en-US" sz="1400">
                <a:solidFill>
                  <a:srgbClr val="1A1918"/>
                </a:solidFill>
                <a:latin typeface="微软雅黑" panose="020B0503020204020204" pitchFamily="34" charset="-122"/>
                <a:ea typeface="微软雅黑" panose="020B0503020204020204" pitchFamily="34" charset="-122"/>
              </a:rPr>
              <a:t>目前</a:t>
            </a:r>
            <a:r>
              <a:rPr lang="zh-CN" altLang="en-US" sz="1400" b="1">
                <a:solidFill>
                  <a:schemeClr val="accent2"/>
                </a:solidFill>
                <a:latin typeface="微软雅黑" panose="020B0503020204020204" pitchFamily="34" charset="-122"/>
                <a:ea typeface="微软雅黑" panose="020B0503020204020204" pitchFamily="34" charset="-122"/>
              </a:rPr>
              <a:t>目录内并无针对</a:t>
            </a:r>
            <a:r>
              <a:rPr lang="en-US" altLang="zh-CN" sz="1400" b="1">
                <a:solidFill>
                  <a:schemeClr val="accent2"/>
                </a:solidFill>
                <a:latin typeface="微软雅黑" panose="020B0503020204020204" pitchFamily="34" charset="-122"/>
                <a:ea typeface="微软雅黑" panose="020B0503020204020204" pitchFamily="34" charset="-122"/>
              </a:rPr>
              <a:t>12</a:t>
            </a:r>
            <a:r>
              <a:rPr lang="zh-CN" altLang="en-US" sz="1400" b="1">
                <a:solidFill>
                  <a:schemeClr val="accent2"/>
                </a:solidFill>
                <a:latin typeface="微软雅黑" panose="020B0503020204020204" pitchFamily="34" charset="-122"/>
                <a:ea typeface="微软雅黑" panose="020B0503020204020204" pitchFamily="34" charset="-122"/>
              </a:rPr>
              <a:t>岁以上遗传性血管性水肿患者的针对性治疗药物</a:t>
            </a:r>
          </a:p>
        </p:txBody>
      </p:sp>
      <p:sp>
        <p:nvSpPr>
          <p:cNvPr id="206" name="矩形: 圆角 205">
            <a:extLst>
              <a:ext uri="{FF2B5EF4-FFF2-40B4-BE49-F238E27FC236}">
                <a16:creationId xmlns:a16="http://schemas.microsoft.com/office/drawing/2014/main" id="{DD9B7D46-76B0-4668-91A9-921B5E0291CA}"/>
              </a:ext>
            </a:extLst>
          </p:cNvPr>
          <p:cNvSpPr/>
          <p:nvPr/>
        </p:nvSpPr>
        <p:spPr>
          <a:xfrm>
            <a:off x="8216417" y="2301115"/>
            <a:ext cx="3183245" cy="1532334"/>
          </a:xfrm>
          <a:prstGeom prst="roundRect">
            <a:avLst/>
          </a:prstGeom>
          <a:noFill/>
        </p:spPr>
        <p:txBody>
          <a:bodyPr wrap="square">
            <a:spAutoFit/>
          </a:bodyPr>
          <a:lstStyle/>
          <a:p>
            <a:pPr marL="171450" indent="-171450">
              <a:buFont typeface="Arial" panose="020B0604020202020204" pitchFamily="34" charset="0"/>
              <a:buChar char="•"/>
            </a:pPr>
            <a:r>
              <a:rPr lang="en-US" altLang="zh-CN" sz="1400" dirty="0">
                <a:solidFill>
                  <a:srgbClr val="1A1918"/>
                </a:solidFill>
                <a:latin typeface="微软雅黑" panose="020B0503020204020204" pitchFamily="34" charset="-122"/>
                <a:ea typeface="微软雅黑" panose="020B0503020204020204" pitchFamily="34" charset="-122"/>
              </a:rPr>
              <a:t>HAE</a:t>
            </a:r>
            <a:r>
              <a:rPr lang="zh-CN" altLang="en-US" sz="1400" dirty="0">
                <a:solidFill>
                  <a:srgbClr val="1A1918"/>
                </a:solidFill>
                <a:latin typeface="微软雅黑" panose="020B0503020204020204" pitchFamily="34" charset="-122"/>
                <a:ea typeface="微软雅黑" panose="020B0503020204020204" pitchFamily="34" charset="-122"/>
              </a:rPr>
              <a:t>为</a:t>
            </a:r>
            <a:r>
              <a:rPr lang="en-US" altLang="zh-CN" sz="1400" dirty="0">
                <a:solidFill>
                  <a:srgbClr val="1A1918"/>
                </a:solidFill>
                <a:latin typeface="微软雅黑" panose="020B0503020204020204" pitchFamily="34" charset="-122"/>
                <a:ea typeface="微软雅黑" panose="020B0503020204020204" pitchFamily="34" charset="-122"/>
              </a:rPr>
              <a:t>121</a:t>
            </a:r>
            <a:r>
              <a:rPr lang="zh-CN" altLang="en-US" sz="1400" dirty="0">
                <a:solidFill>
                  <a:srgbClr val="1A1918"/>
                </a:solidFill>
                <a:latin typeface="微软雅黑" panose="020B0503020204020204" pitchFamily="34" charset="-122"/>
                <a:ea typeface="微软雅黑" panose="020B0503020204020204" pitchFamily="34" charset="-122"/>
              </a:rPr>
              <a:t>罕见病目录病种之一</a:t>
            </a:r>
            <a:r>
              <a:rPr kumimoji="1" lang="zh-CN" altLang="en-US" sz="1400" dirty="0">
                <a:solidFill>
                  <a:srgbClr val="1A1918"/>
                </a:solidFill>
                <a:latin typeface="微软雅黑" panose="020B0503020204020204" pitchFamily="34" charset="-122"/>
                <a:ea typeface="微软雅黑" panose="020B0503020204020204" pitchFamily="34" charset="-122"/>
              </a:rPr>
              <a:t>（编号</a:t>
            </a:r>
            <a:r>
              <a:rPr kumimoji="1" lang="en-US" altLang="zh-CN" sz="1400" dirty="0">
                <a:solidFill>
                  <a:srgbClr val="1A1918"/>
                </a:solidFill>
                <a:latin typeface="微软雅黑" panose="020B0503020204020204" pitchFamily="34" charset="-122"/>
                <a:ea typeface="微软雅黑" panose="020B0503020204020204" pitchFamily="34" charset="-122"/>
              </a:rPr>
              <a:t>38</a:t>
            </a:r>
            <a:r>
              <a:rPr kumimoji="1" lang="zh-CN" altLang="en-US" sz="1400" dirty="0">
                <a:solidFill>
                  <a:srgbClr val="1A1918"/>
                </a:solidFill>
                <a:latin typeface="微软雅黑" panose="020B0503020204020204" pitchFamily="34" charset="-122"/>
                <a:ea typeface="微软雅黑" panose="020B0503020204020204" pitchFamily="34" charset="-122"/>
              </a:rPr>
              <a:t>）</a:t>
            </a:r>
            <a:endParaRPr lang="en-US" altLang="zh-CN" sz="1400" dirty="0">
              <a:solidFill>
                <a:srgbClr val="1A1918"/>
              </a:solidFill>
              <a:latin typeface="微软雅黑" panose="020B0503020204020204" pitchFamily="34" charset="-122"/>
              <a:ea typeface="微软雅黑" panose="020B0503020204020204" pitchFamily="34" charset="-122"/>
            </a:endParaRPr>
          </a:p>
          <a:p>
            <a:pPr marL="171450" indent="-171450">
              <a:buFont typeface="Arial" panose="020B0604020202020204" pitchFamily="34" charset="0"/>
              <a:buChar char="•"/>
            </a:pPr>
            <a:r>
              <a:rPr lang="en-US" altLang="zh-CN" sz="1400" dirty="0">
                <a:solidFill>
                  <a:srgbClr val="1A1918"/>
                </a:solidFill>
                <a:latin typeface="微软雅黑" panose="020B0503020204020204" pitchFamily="34" charset="-122"/>
                <a:ea typeface="微软雅黑" panose="020B0503020204020204" pitchFamily="34" charset="-122"/>
              </a:rPr>
              <a:t>HAE</a:t>
            </a:r>
            <a:r>
              <a:rPr lang="zh-CN" altLang="en-US" sz="1400" dirty="0">
                <a:solidFill>
                  <a:srgbClr val="1A1918"/>
                </a:solidFill>
                <a:latin typeface="微软雅黑" panose="020B0503020204020204" pitchFamily="34" charset="-122"/>
                <a:ea typeface="微软雅黑" panose="020B0503020204020204" pitchFamily="34" charset="-122"/>
              </a:rPr>
              <a:t>患者渴望缓解沉重疾病负担，</a:t>
            </a:r>
            <a:r>
              <a:rPr lang="zh-CN" altLang="en-US" sz="1400" b="1" dirty="0">
                <a:solidFill>
                  <a:schemeClr val="accent2"/>
                </a:solidFill>
                <a:latin typeface="微软雅黑" panose="020B0503020204020204" pitchFamily="34" charset="-122"/>
                <a:ea typeface="微软雅黑" panose="020B0503020204020204" pitchFamily="34" charset="-122"/>
              </a:rPr>
              <a:t>回归正常生活</a:t>
            </a:r>
          </a:p>
          <a:p>
            <a:pPr marL="171450" indent="-171450">
              <a:buFont typeface="Arial" panose="020B0604020202020204" pitchFamily="34" charset="0"/>
              <a:buChar char="•"/>
            </a:pPr>
            <a:r>
              <a:rPr lang="en-US" altLang="zh-CN" sz="1400" dirty="0">
                <a:solidFill>
                  <a:srgbClr val="1A1918"/>
                </a:solidFill>
                <a:latin typeface="微软雅黑" panose="020B0503020204020204" pitchFamily="34" charset="-122"/>
                <a:ea typeface="微软雅黑" panose="020B0503020204020204" pitchFamily="34" charset="-122"/>
              </a:rPr>
              <a:t>HAE</a:t>
            </a:r>
            <a:r>
              <a:rPr lang="zh-CN" altLang="en-US" sz="1400" dirty="0">
                <a:solidFill>
                  <a:srgbClr val="1A1918"/>
                </a:solidFill>
                <a:latin typeface="微软雅黑" panose="020B0503020204020204" pitchFamily="34" charset="-122"/>
                <a:ea typeface="微软雅黑" panose="020B0503020204020204" pitchFamily="34" charset="-122"/>
              </a:rPr>
              <a:t>人数少，</a:t>
            </a:r>
            <a:r>
              <a:rPr lang="zh-CN" altLang="en-US" sz="1400" b="1" dirty="0">
                <a:solidFill>
                  <a:schemeClr val="accent2"/>
                </a:solidFill>
                <a:latin typeface="微软雅黑" panose="020B0503020204020204" pitchFamily="34" charset="-122"/>
                <a:ea typeface="微软雅黑" panose="020B0503020204020204" pitchFamily="34" charset="-122"/>
              </a:rPr>
              <a:t>对医保基金的影响有限</a:t>
            </a:r>
          </a:p>
        </p:txBody>
      </p:sp>
      <p:sp>
        <p:nvSpPr>
          <p:cNvPr id="207" name="矩形: 圆角 206">
            <a:extLst>
              <a:ext uri="{FF2B5EF4-FFF2-40B4-BE49-F238E27FC236}">
                <a16:creationId xmlns:a16="http://schemas.microsoft.com/office/drawing/2014/main" id="{85758777-F055-45E3-AEF5-B5CE279ECFB1}"/>
              </a:ext>
            </a:extLst>
          </p:cNvPr>
          <p:cNvSpPr/>
          <p:nvPr/>
        </p:nvSpPr>
        <p:spPr>
          <a:xfrm>
            <a:off x="8216417" y="5006510"/>
            <a:ext cx="3105707" cy="578882"/>
          </a:xfrm>
          <a:prstGeom prst="roundRect">
            <a:avLst/>
          </a:prstGeom>
          <a:noFill/>
        </p:spPr>
        <p:txBody>
          <a:bodyPr wrap="square">
            <a:spAutoFit/>
          </a:bodyPr>
          <a:lstStyle/>
          <a:p>
            <a:pPr marL="285750" indent="-285750">
              <a:buFont typeface="Arial" panose="020B0604020202020204" pitchFamily="34" charset="0"/>
              <a:buChar char="•"/>
            </a:pPr>
            <a:r>
              <a:rPr lang="zh-CN" altLang="en-US" sz="1400">
                <a:solidFill>
                  <a:srgbClr val="1A1918"/>
                </a:solidFill>
                <a:latin typeface="Arial" panose="020B0604020202020204" pitchFamily="34" charset="0"/>
                <a:ea typeface="微软雅黑" panose="020B0503020204020204" pitchFamily="34" charset="-122"/>
                <a:sym typeface="Arial" panose="020B0604020202020204" pitchFamily="34" charset="0"/>
              </a:rPr>
              <a:t>已确诊的</a:t>
            </a:r>
            <a:r>
              <a:rPr lang="en-US" altLang="zh-CN" sz="1400" b="1">
                <a:solidFill>
                  <a:schemeClr val="accent2"/>
                </a:solidFill>
                <a:latin typeface="Arial" panose="020B0604020202020204" pitchFamily="34" charset="0"/>
                <a:ea typeface="微软雅黑" panose="020B0503020204020204" pitchFamily="34" charset="-122"/>
                <a:sym typeface="Arial" panose="020B0604020202020204" pitchFamily="34" charset="0"/>
              </a:rPr>
              <a:t>HAE</a:t>
            </a:r>
            <a:r>
              <a:rPr lang="zh-CN" altLang="en-US" sz="1400" b="1">
                <a:solidFill>
                  <a:schemeClr val="accent2"/>
                </a:solidFill>
                <a:latin typeface="Arial" panose="020B0604020202020204" pitchFamily="34" charset="0"/>
                <a:ea typeface="微软雅黑" panose="020B0503020204020204" pitchFamily="34" charset="-122"/>
                <a:sym typeface="Arial" panose="020B0604020202020204" pitchFamily="34" charset="0"/>
              </a:rPr>
              <a:t>患者不足</a:t>
            </a:r>
            <a:r>
              <a:rPr lang="en-US" altLang="zh-CN" sz="1400" b="1">
                <a:solidFill>
                  <a:schemeClr val="accent2"/>
                </a:solidFill>
                <a:latin typeface="Arial" panose="020B0604020202020204" pitchFamily="34" charset="0"/>
                <a:ea typeface="微软雅黑" panose="020B0503020204020204" pitchFamily="34" charset="-122"/>
                <a:sym typeface="Arial" panose="020B0604020202020204" pitchFamily="34" charset="0"/>
              </a:rPr>
              <a:t>500</a:t>
            </a:r>
            <a:r>
              <a:rPr lang="zh-CN" altLang="en-US" sz="1400" b="1">
                <a:solidFill>
                  <a:schemeClr val="accent2"/>
                </a:solidFill>
                <a:latin typeface="Arial" panose="020B0604020202020204" pitchFamily="34" charset="0"/>
                <a:ea typeface="微软雅黑" panose="020B0503020204020204" pitchFamily="34" charset="-122"/>
                <a:sym typeface="Arial" panose="020B0604020202020204" pitchFamily="34" charset="0"/>
              </a:rPr>
              <a:t>人</a:t>
            </a:r>
            <a:endParaRPr lang="en-US" altLang="zh-CN" sz="1400" b="1">
              <a:solidFill>
                <a:schemeClr val="accent2"/>
              </a:solidFill>
              <a:latin typeface="Arial" panose="020B0604020202020204" pitchFamily="34" charset="0"/>
              <a:ea typeface="微软雅黑" panose="020B0503020204020204" pitchFamily="34" charset="-122"/>
              <a:sym typeface="Arial" panose="020B0604020202020204" pitchFamily="34" charset="0"/>
            </a:endParaRPr>
          </a:p>
          <a:p>
            <a:pPr marL="285750" indent="-285750">
              <a:buFont typeface="Arial" panose="020B0604020202020204" pitchFamily="34" charset="0"/>
              <a:buChar char="•"/>
            </a:pPr>
            <a:r>
              <a:rPr lang="zh-CN" altLang="en-US" sz="1400">
                <a:solidFill>
                  <a:srgbClr val="1A1918"/>
                </a:solidFill>
                <a:latin typeface="Arial" panose="020B0604020202020204" pitchFamily="34" charset="0"/>
                <a:ea typeface="微软雅黑" panose="020B0503020204020204" pitchFamily="34" charset="-122"/>
                <a:sym typeface="Arial" panose="020B0604020202020204" pitchFamily="34" charset="0"/>
              </a:rPr>
              <a:t>诊断方法明确，</a:t>
            </a:r>
            <a:r>
              <a:rPr lang="zh-CN" altLang="en-US" sz="1400" b="1">
                <a:solidFill>
                  <a:schemeClr val="accent2"/>
                </a:solidFill>
                <a:latin typeface="微软雅黑" panose="020B0503020204020204" pitchFamily="34" charset="-122"/>
                <a:ea typeface="微软雅黑" panose="020B0503020204020204" pitchFamily="34" charset="-122"/>
                <a:sym typeface="Arial" panose="020B0604020202020204" pitchFamily="34" charset="0"/>
              </a:rPr>
              <a:t>医保易于管理</a:t>
            </a:r>
            <a:endParaRPr lang="zh-CN" altLang="en-US" sz="1400" b="1">
              <a:solidFill>
                <a:schemeClr val="accent2"/>
              </a:solidFill>
              <a:latin typeface="微软雅黑" panose="020B0503020204020204" pitchFamily="34" charset="-122"/>
              <a:ea typeface="微软雅黑" panose="020B0503020204020204" pitchFamily="34" charset="-122"/>
            </a:endParaRPr>
          </a:p>
        </p:txBody>
      </p:sp>
      <p:grpSp>
        <p:nvGrpSpPr>
          <p:cNvPr id="208" name="Group 142">
            <a:extLst>
              <a:ext uri="{FF2B5EF4-FFF2-40B4-BE49-F238E27FC236}">
                <a16:creationId xmlns:a16="http://schemas.microsoft.com/office/drawing/2014/main" id="{A5439419-2089-4356-BF6E-74EC92C0BCBC}"/>
              </a:ext>
            </a:extLst>
          </p:cNvPr>
          <p:cNvGrpSpPr/>
          <p:nvPr/>
        </p:nvGrpSpPr>
        <p:grpSpPr>
          <a:xfrm>
            <a:off x="4100346" y="3822098"/>
            <a:ext cx="616463" cy="599892"/>
            <a:chOff x="-26973225" y="4703751"/>
            <a:chExt cx="8309141" cy="8309141"/>
          </a:xfrm>
        </p:grpSpPr>
        <p:sp>
          <p:nvSpPr>
            <p:cNvPr id="209" name="Freeform 55">
              <a:extLst>
                <a:ext uri="{FF2B5EF4-FFF2-40B4-BE49-F238E27FC236}">
                  <a16:creationId xmlns:a16="http://schemas.microsoft.com/office/drawing/2014/main" id="{BA08AE6F-4ECD-4154-98ED-AF957BDB8284}"/>
                </a:ext>
              </a:extLst>
            </p:cNvPr>
            <p:cNvSpPr>
              <a:spLocks/>
            </p:cNvSpPr>
            <p:nvPr/>
          </p:nvSpPr>
          <p:spPr bwMode="auto">
            <a:xfrm>
              <a:off x="-26973225" y="4703751"/>
              <a:ext cx="8309141" cy="8309141"/>
            </a:xfrm>
            <a:custGeom>
              <a:avLst/>
              <a:gdLst/>
              <a:ahLst/>
              <a:cxnLst>
                <a:cxn ang="0">
                  <a:pos x="4778" y="2578"/>
                </a:cxn>
                <a:cxn ang="0">
                  <a:pos x="4736" y="2876"/>
                </a:cxn>
                <a:cxn ang="0">
                  <a:pos x="4660" y="3160"/>
                </a:cxn>
                <a:cxn ang="0">
                  <a:pos x="4550" y="3430"/>
                </a:cxn>
                <a:cxn ang="0">
                  <a:pos x="4408" y="3684"/>
                </a:cxn>
                <a:cxn ang="0">
                  <a:pos x="4238" y="3916"/>
                </a:cxn>
                <a:cxn ang="0">
                  <a:pos x="4044" y="4126"/>
                </a:cxn>
                <a:cxn ang="0">
                  <a:pos x="3824" y="4310"/>
                </a:cxn>
                <a:cxn ang="0">
                  <a:pos x="3584" y="4470"/>
                </a:cxn>
                <a:cxn ang="0">
                  <a:pos x="3324" y="4598"/>
                </a:cxn>
                <a:cxn ang="0">
                  <a:pos x="3048" y="4696"/>
                </a:cxn>
                <a:cxn ang="0">
                  <a:pos x="2756" y="4758"/>
                </a:cxn>
                <a:cxn ang="0">
                  <a:pos x="2454" y="4786"/>
                </a:cxn>
                <a:cxn ang="0">
                  <a:pos x="2208" y="4780"/>
                </a:cxn>
                <a:cxn ang="0">
                  <a:pos x="1910" y="4738"/>
                </a:cxn>
                <a:cxn ang="0">
                  <a:pos x="1624" y="4660"/>
                </a:cxn>
                <a:cxn ang="0">
                  <a:pos x="1356" y="4550"/>
                </a:cxn>
                <a:cxn ang="0">
                  <a:pos x="1102" y="4410"/>
                </a:cxn>
                <a:cxn ang="0">
                  <a:pos x="870" y="4240"/>
                </a:cxn>
                <a:cxn ang="0">
                  <a:pos x="660" y="4044"/>
                </a:cxn>
                <a:cxn ang="0">
                  <a:pos x="474" y="3826"/>
                </a:cxn>
                <a:cxn ang="0">
                  <a:pos x="316" y="3584"/>
                </a:cxn>
                <a:cxn ang="0">
                  <a:pos x="188" y="3324"/>
                </a:cxn>
                <a:cxn ang="0">
                  <a:pos x="90" y="3048"/>
                </a:cxn>
                <a:cxn ang="0">
                  <a:pos x="28" y="2758"/>
                </a:cxn>
                <a:cxn ang="0">
                  <a:pos x="0" y="2456"/>
                </a:cxn>
                <a:cxn ang="0">
                  <a:pos x="6" y="2210"/>
                </a:cxn>
                <a:cxn ang="0">
                  <a:pos x="48" y="1912"/>
                </a:cxn>
                <a:cxn ang="0">
                  <a:pos x="126" y="1626"/>
                </a:cxn>
                <a:cxn ang="0">
                  <a:pos x="236" y="1356"/>
                </a:cxn>
                <a:cxn ang="0">
                  <a:pos x="376" y="1104"/>
                </a:cxn>
                <a:cxn ang="0">
                  <a:pos x="546" y="872"/>
                </a:cxn>
                <a:cxn ang="0">
                  <a:pos x="742" y="662"/>
                </a:cxn>
                <a:cxn ang="0">
                  <a:pos x="960" y="476"/>
                </a:cxn>
                <a:cxn ang="0">
                  <a:pos x="1202" y="318"/>
                </a:cxn>
                <a:cxn ang="0">
                  <a:pos x="1462" y="188"/>
                </a:cxn>
                <a:cxn ang="0">
                  <a:pos x="1738" y="92"/>
                </a:cxn>
                <a:cxn ang="0">
                  <a:pos x="2028" y="28"/>
                </a:cxn>
                <a:cxn ang="0">
                  <a:pos x="2330" y="2"/>
                </a:cxn>
                <a:cxn ang="0">
                  <a:pos x="2576" y="8"/>
                </a:cxn>
                <a:cxn ang="0">
                  <a:pos x="2874" y="50"/>
                </a:cxn>
                <a:cxn ang="0">
                  <a:pos x="3160" y="126"/>
                </a:cxn>
                <a:cxn ang="0">
                  <a:pos x="3430" y="236"/>
                </a:cxn>
                <a:cxn ang="0">
                  <a:pos x="3682" y="378"/>
                </a:cxn>
                <a:cxn ang="0">
                  <a:pos x="3914" y="548"/>
                </a:cxn>
                <a:cxn ang="0">
                  <a:pos x="4124" y="742"/>
                </a:cxn>
                <a:cxn ang="0">
                  <a:pos x="4310" y="962"/>
                </a:cxn>
                <a:cxn ang="0">
                  <a:pos x="4468" y="1202"/>
                </a:cxn>
                <a:cxn ang="0">
                  <a:pos x="4598" y="1462"/>
                </a:cxn>
                <a:cxn ang="0">
                  <a:pos x="4694" y="1738"/>
                </a:cxn>
                <a:cxn ang="0">
                  <a:pos x="4758" y="2030"/>
                </a:cxn>
                <a:cxn ang="0">
                  <a:pos x="4784" y="2332"/>
                </a:cxn>
              </a:cxnLst>
              <a:rect l="0" t="0" r="r" b="b"/>
              <a:pathLst>
                <a:path w="4786" h="4786">
                  <a:moveTo>
                    <a:pt x="4786" y="2394"/>
                  </a:moveTo>
                  <a:lnTo>
                    <a:pt x="4786" y="2394"/>
                  </a:lnTo>
                  <a:lnTo>
                    <a:pt x="4784" y="2456"/>
                  </a:lnTo>
                  <a:lnTo>
                    <a:pt x="4782" y="2516"/>
                  </a:lnTo>
                  <a:lnTo>
                    <a:pt x="4778" y="2578"/>
                  </a:lnTo>
                  <a:lnTo>
                    <a:pt x="4772" y="2638"/>
                  </a:lnTo>
                  <a:lnTo>
                    <a:pt x="4766" y="2698"/>
                  </a:lnTo>
                  <a:lnTo>
                    <a:pt x="4758" y="2758"/>
                  </a:lnTo>
                  <a:lnTo>
                    <a:pt x="4748" y="2818"/>
                  </a:lnTo>
                  <a:lnTo>
                    <a:pt x="4736" y="2876"/>
                  </a:lnTo>
                  <a:lnTo>
                    <a:pt x="4724" y="2934"/>
                  </a:lnTo>
                  <a:lnTo>
                    <a:pt x="4710" y="2992"/>
                  </a:lnTo>
                  <a:lnTo>
                    <a:pt x="4694" y="3048"/>
                  </a:lnTo>
                  <a:lnTo>
                    <a:pt x="4678" y="3106"/>
                  </a:lnTo>
                  <a:lnTo>
                    <a:pt x="4660" y="3160"/>
                  </a:lnTo>
                  <a:lnTo>
                    <a:pt x="4640" y="3216"/>
                  </a:lnTo>
                  <a:lnTo>
                    <a:pt x="4620" y="3270"/>
                  </a:lnTo>
                  <a:lnTo>
                    <a:pt x="4598" y="3324"/>
                  </a:lnTo>
                  <a:lnTo>
                    <a:pt x="4574" y="3378"/>
                  </a:lnTo>
                  <a:lnTo>
                    <a:pt x="4550" y="3430"/>
                  </a:lnTo>
                  <a:lnTo>
                    <a:pt x="4524" y="3482"/>
                  </a:lnTo>
                  <a:lnTo>
                    <a:pt x="4496" y="3534"/>
                  </a:lnTo>
                  <a:lnTo>
                    <a:pt x="4468" y="3584"/>
                  </a:lnTo>
                  <a:lnTo>
                    <a:pt x="4438" y="3634"/>
                  </a:lnTo>
                  <a:lnTo>
                    <a:pt x="4408" y="3684"/>
                  </a:lnTo>
                  <a:lnTo>
                    <a:pt x="4376" y="3732"/>
                  </a:lnTo>
                  <a:lnTo>
                    <a:pt x="4344" y="3778"/>
                  </a:lnTo>
                  <a:lnTo>
                    <a:pt x="4310" y="3826"/>
                  </a:lnTo>
                  <a:lnTo>
                    <a:pt x="4274" y="3870"/>
                  </a:lnTo>
                  <a:lnTo>
                    <a:pt x="4238" y="3916"/>
                  </a:lnTo>
                  <a:lnTo>
                    <a:pt x="4202" y="3960"/>
                  </a:lnTo>
                  <a:lnTo>
                    <a:pt x="4164" y="4002"/>
                  </a:lnTo>
                  <a:lnTo>
                    <a:pt x="4124" y="4044"/>
                  </a:lnTo>
                  <a:lnTo>
                    <a:pt x="4084" y="4086"/>
                  </a:lnTo>
                  <a:lnTo>
                    <a:pt x="4044" y="4126"/>
                  </a:lnTo>
                  <a:lnTo>
                    <a:pt x="4002" y="4164"/>
                  </a:lnTo>
                  <a:lnTo>
                    <a:pt x="3958" y="4202"/>
                  </a:lnTo>
                  <a:lnTo>
                    <a:pt x="3914" y="4240"/>
                  </a:lnTo>
                  <a:lnTo>
                    <a:pt x="3870" y="4276"/>
                  </a:lnTo>
                  <a:lnTo>
                    <a:pt x="3824" y="4310"/>
                  </a:lnTo>
                  <a:lnTo>
                    <a:pt x="3778" y="4344"/>
                  </a:lnTo>
                  <a:lnTo>
                    <a:pt x="3730" y="4378"/>
                  </a:lnTo>
                  <a:lnTo>
                    <a:pt x="3682" y="4410"/>
                  </a:lnTo>
                  <a:lnTo>
                    <a:pt x="3634" y="4440"/>
                  </a:lnTo>
                  <a:lnTo>
                    <a:pt x="3584" y="4470"/>
                  </a:lnTo>
                  <a:lnTo>
                    <a:pt x="3532" y="4498"/>
                  </a:lnTo>
                  <a:lnTo>
                    <a:pt x="3482" y="4524"/>
                  </a:lnTo>
                  <a:lnTo>
                    <a:pt x="3430" y="4550"/>
                  </a:lnTo>
                  <a:lnTo>
                    <a:pt x="3378" y="4574"/>
                  </a:lnTo>
                  <a:lnTo>
                    <a:pt x="3324" y="4598"/>
                  </a:lnTo>
                  <a:lnTo>
                    <a:pt x="3270" y="4620"/>
                  </a:lnTo>
                  <a:lnTo>
                    <a:pt x="3216" y="4642"/>
                  </a:lnTo>
                  <a:lnTo>
                    <a:pt x="3160" y="4660"/>
                  </a:lnTo>
                  <a:lnTo>
                    <a:pt x="3104" y="4678"/>
                  </a:lnTo>
                  <a:lnTo>
                    <a:pt x="3048" y="4696"/>
                  </a:lnTo>
                  <a:lnTo>
                    <a:pt x="2990" y="4712"/>
                  </a:lnTo>
                  <a:lnTo>
                    <a:pt x="2932" y="4726"/>
                  </a:lnTo>
                  <a:lnTo>
                    <a:pt x="2874" y="4738"/>
                  </a:lnTo>
                  <a:lnTo>
                    <a:pt x="2816" y="4748"/>
                  </a:lnTo>
                  <a:lnTo>
                    <a:pt x="2756" y="4758"/>
                  </a:lnTo>
                  <a:lnTo>
                    <a:pt x="2698" y="4768"/>
                  </a:lnTo>
                  <a:lnTo>
                    <a:pt x="2638" y="4774"/>
                  </a:lnTo>
                  <a:lnTo>
                    <a:pt x="2576" y="4780"/>
                  </a:lnTo>
                  <a:lnTo>
                    <a:pt x="2516" y="4784"/>
                  </a:lnTo>
                  <a:lnTo>
                    <a:pt x="2454" y="4786"/>
                  </a:lnTo>
                  <a:lnTo>
                    <a:pt x="2392" y="4786"/>
                  </a:lnTo>
                  <a:lnTo>
                    <a:pt x="2392" y="4786"/>
                  </a:lnTo>
                  <a:lnTo>
                    <a:pt x="2330" y="4786"/>
                  </a:lnTo>
                  <a:lnTo>
                    <a:pt x="2270" y="4784"/>
                  </a:lnTo>
                  <a:lnTo>
                    <a:pt x="2208" y="4780"/>
                  </a:lnTo>
                  <a:lnTo>
                    <a:pt x="2148" y="4774"/>
                  </a:lnTo>
                  <a:lnTo>
                    <a:pt x="2088" y="4768"/>
                  </a:lnTo>
                  <a:lnTo>
                    <a:pt x="2028" y="4758"/>
                  </a:lnTo>
                  <a:lnTo>
                    <a:pt x="1968" y="4748"/>
                  </a:lnTo>
                  <a:lnTo>
                    <a:pt x="1910" y="4738"/>
                  </a:lnTo>
                  <a:lnTo>
                    <a:pt x="1852" y="4726"/>
                  </a:lnTo>
                  <a:lnTo>
                    <a:pt x="1794" y="4712"/>
                  </a:lnTo>
                  <a:lnTo>
                    <a:pt x="1738" y="4696"/>
                  </a:lnTo>
                  <a:lnTo>
                    <a:pt x="1680" y="4678"/>
                  </a:lnTo>
                  <a:lnTo>
                    <a:pt x="1624" y="4660"/>
                  </a:lnTo>
                  <a:lnTo>
                    <a:pt x="1570" y="4642"/>
                  </a:lnTo>
                  <a:lnTo>
                    <a:pt x="1516" y="4620"/>
                  </a:lnTo>
                  <a:lnTo>
                    <a:pt x="1462" y="4598"/>
                  </a:lnTo>
                  <a:lnTo>
                    <a:pt x="1408" y="4574"/>
                  </a:lnTo>
                  <a:lnTo>
                    <a:pt x="1356" y="4550"/>
                  </a:lnTo>
                  <a:lnTo>
                    <a:pt x="1304" y="4524"/>
                  </a:lnTo>
                  <a:lnTo>
                    <a:pt x="1252" y="4498"/>
                  </a:lnTo>
                  <a:lnTo>
                    <a:pt x="1202" y="4470"/>
                  </a:lnTo>
                  <a:lnTo>
                    <a:pt x="1152" y="4440"/>
                  </a:lnTo>
                  <a:lnTo>
                    <a:pt x="1102" y="4410"/>
                  </a:lnTo>
                  <a:lnTo>
                    <a:pt x="1054" y="4378"/>
                  </a:lnTo>
                  <a:lnTo>
                    <a:pt x="1008" y="4344"/>
                  </a:lnTo>
                  <a:lnTo>
                    <a:pt x="960" y="4310"/>
                  </a:lnTo>
                  <a:lnTo>
                    <a:pt x="916" y="4276"/>
                  </a:lnTo>
                  <a:lnTo>
                    <a:pt x="870" y="4240"/>
                  </a:lnTo>
                  <a:lnTo>
                    <a:pt x="826" y="4202"/>
                  </a:lnTo>
                  <a:lnTo>
                    <a:pt x="784" y="4164"/>
                  </a:lnTo>
                  <a:lnTo>
                    <a:pt x="742" y="4126"/>
                  </a:lnTo>
                  <a:lnTo>
                    <a:pt x="700" y="4086"/>
                  </a:lnTo>
                  <a:lnTo>
                    <a:pt x="660" y="4044"/>
                  </a:lnTo>
                  <a:lnTo>
                    <a:pt x="622" y="4002"/>
                  </a:lnTo>
                  <a:lnTo>
                    <a:pt x="584" y="3960"/>
                  </a:lnTo>
                  <a:lnTo>
                    <a:pt x="546" y="3916"/>
                  </a:lnTo>
                  <a:lnTo>
                    <a:pt x="510" y="3870"/>
                  </a:lnTo>
                  <a:lnTo>
                    <a:pt x="474" y="3826"/>
                  </a:lnTo>
                  <a:lnTo>
                    <a:pt x="442" y="3778"/>
                  </a:lnTo>
                  <a:lnTo>
                    <a:pt x="408" y="3732"/>
                  </a:lnTo>
                  <a:lnTo>
                    <a:pt x="376" y="3684"/>
                  </a:lnTo>
                  <a:lnTo>
                    <a:pt x="346" y="3634"/>
                  </a:lnTo>
                  <a:lnTo>
                    <a:pt x="316" y="3584"/>
                  </a:lnTo>
                  <a:lnTo>
                    <a:pt x="288" y="3534"/>
                  </a:lnTo>
                  <a:lnTo>
                    <a:pt x="262" y="3482"/>
                  </a:lnTo>
                  <a:lnTo>
                    <a:pt x="236" y="3430"/>
                  </a:lnTo>
                  <a:lnTo>
                    <a:pt x="210" y="3378"/>
                  </a:lnTo>
                  <a:lnTo>
                    <a:pt x="188" y="3324"/>
                  </a:lnTo>
                  <a:lnTo>
                    <a:pt x="166" y="3270"/>
                  </a:lnTo>
                  <a:lnTo>
                    <a:pt x="144" y="3216"/>
                  </a:lnTo>
                  <a:lnTo>
                    <a:pt x="126" y="3160"/>
                  </a:lnTo>
                  <a:lnTo>
                    <a:pt x="108" y="3106"/>
                  </a:lnTo>
                  <a:lnTo>
                    <a:pt x="90" y="3048"/>
                  </a:lnTo>
                  <a:lnTo>
                    <a:pt x="74" y="2992"/>
                  </a:lnTo>
                  <a:lnTo>
                    <a:pt x="60" y="2934"/>
                  </a:lnTo>
                  <a:lnTo>
                    <a:pt x="48" y="2876"/>
                  </a:lnTo>
                  <a:lnTo>
                    <a:pt x="36" y="2818"/>
                  </a:lnTo>
                  <a:lnTo>
                    <a:pt x="28" y="2758"/>
                  </a:lnTo>
                  <a:lnTo>
                    <a:pt x="18" y="2698"/>
                  </a:lnTo>
                  <a:lnTo>
                    <a:pt x="12" y="2638"/>
                  </a:lnTo>
                  <a:lnTo>
                    <a:pt x="6" y="2578"/>
                  </a:lnTo>
                  <a:lnTo>
                    <a:pt x="2" y="2516"/>
                  </a:lnTo>
                  <a:lnTo>
                    <a:pt x="0" y="2456"/>
                  </a:lnTo>
                  <a:lnTo>
                    <a:pt x="0" y="2394"/>
                  </a:lnTo>
                  <a:lnTo>
                    <a:pt x="0" y="2394"/>
                  </a:lnTo>
                  <a:lnTo>
                    <a:pt x="0" y="2332"/>
                  </a:lnTo>
                  <a:lnTo>
                    <a:pt x="2" y="2270"/>
                  </a:lnTo>
                  <a:lnTo>
                    <a:pt x="6" y="2210"/>
                  </a:lnTo>
                  <a:lnTo>
                    <a:pt x="12" y="2148"/>
                  </a:lnTo>
                  <a:lnTo>
                    <a:pt x="18" y="2088"/>
                  </a:lnTo>
                  <a:lnTo>
                    <a:pt x="28" y="2030"/>
                  </a:lnTo>
                  <a:lnTo>
                    <a:pt x="36" y="1970"/>
                  </a:lnTo>
                  <a:lnTo>
                    <a:pt x="48" y="1912"/>
                  </a:lnTo>
                  <a:lnTo>
                    <a:pt x="60" y="1854"/>
                  </a:lnTo>
                  <a:lnTo>
                    <a:pt x="74" y="1796"/>
                  </a:lnTo>
                  <a:lnTo>
                    <a:pt x="90" y="1738"/>
                  </a:lnTo>
                  <a:lnTo>
                    <a:pt x="108" y="1682"/>
                  </a:lnTo>
                  <a:lnTo>
                    <a:pt x="126" y="1626"/>
                  </a:lnTo>
                  <a:lnTo>
                    <a:pt x="144" y="1570"/>
                  </a:lnTo>
                  <a:lnTo>
                    <a:pt x="166" y="1516"/>
                  </a:lnTo>
                  <a:lnTo>
                    <a:pt x="188" y="1462"/>
                  </a:lnTo>
                  <a:lnTo>
                    <a:pt x="210" y="1408"/>
                  </a:lnTo>
                  <a:lnTo>
                    <a:pt x="236" y="1356"/>
                  </a:lnTo>
                  <a:lnTo>
                    <a:pt x="262" y="1304"/>
                  </a:lnTo>
                  <a:lnTo>
                    <a:pt x="288" y="1252"/>
                  </a:lnTo>
                  <a:lnTo>
                    <a:pt x="316" y="1202"/>
                  </a:lnTo>
                  <a:lnTo>
                    <a:pt x="346" y="1152"/>
                  </a:lnTo>
                  <a:lnTo>
                    <a:pt x="376" y="1104"/>
                  </a:lnTo>
                  <a:lnTo>
                    <a:pt x="408" y="1056"/>
                  </a:lnTo>
                  <a:lnTo>
                    <a:pt x="442" y="1008"/>
                  </a:lnTo>
                  <a:lnTo>
                    <a:pt x="474" y="962"/>
                  </a:lnTo>
                  <a:lnTo>
                    <a:pt x="510" y="916"/>
                  </a:lnTo>
                  <a:lnTo>
                    <a:pt x="546" y="872"/>
                  </a:lnTo>
                  <a:lnTo>
                    <a:pt x="584" y="828"/>
                  </a:lnTo>
                  <a:lnTo>
                    <a:pt x="622" y="784"/>
                  </a:lnTo>
                  <a:lnTo>
                    <a:pt x="660" y="742"/>
                  </a:lnTo>
                  <a:lnTo>
                    <a:pt x="700" y="702"/>
                  </a:lnTo>
                  <a:lnTo>
                    <a:pt x="742" y="662"/>
                  </a:lnTo>
                  <a:lnTo>
                    <a:pt x="784" y="622"/>
                  </a:lnTo>
                  <a:lnTo>
                    <a:pt x="826" y="584"/>
                  </a:lnTo>
                  <a:lnTo>
                    <a:pt x="870" y="548"/>
                  </a:lnTo>
                  <a:lnTo>
                    <a:pt x="916" y="512"/>
                  </a:lnTo>
                  <a:lnTo>
                    <a:pt x="960" y="476"/>
                  </a:lnTo>
                  <a:lnTo>
                    <a:pt x="1008" y="442"/>
                  </a:lnTo>
                  <a:lnTo>
                    <a:pt x="1054" y="410"/>
                  </a:lnTo>
                  <a:lnTo>
                    <a:pt x="1102" y="378"/>
                  </a:lnTo>
                  <a:lnTo>
                    <a:pt x="1152" y="348"/>
                  </a:lnTo>
                  <a:lnTo>
                    <a:pt x="1202" y="318"/>
                  </a:lnTo>
                  <a:lnTo>
                    <a:pt x="1252" y="290"/>
                  </a:lnTo>
                  <a:lnTo>
                    <a:pt x="1304" y="262"/>
                  </a:lnTo>
                  <a:lnTo>
                    <a:pt x="1356" y="236"/>
                  </a:lnTo>
                  <a:lnTo>
                    <a:pt x="1408" y="212"/>
                  </a:lnTo>
                  <a:lnTo>
                    <a:pt x="1462" y="188"/>
                  </a:lnTo>
                  <a:lnTo>
                    <a:pt x="1516" y="166"/>
                  </a:lnTo>
                  <a:lnTo>
                    <a:pt x="1570" y="146"/>
                  </a:lnTo>
                  <a:lnTo>
                    <a:pt x="1624" y="126"/>
                  </a:lnTo>
                  <a:lnTo>
                    <a:pt x="1680" y="108"/>
                  </a:lnTo>
                  <a:lnTo>
                    <a:pt x="1738" y="92"/>
                  </a:lnTo>
                  <a:lnTo>
                    <a:pt x="1794" y="76"/>
                  </a:lnTo>
                  <a:lnTo>
                    <a:pt x="1852" y="62"/>
                  </a:lnTo>
                  <a:lnTo>
                    <a:pt x="1910" y="50"/>
                  </a:lnTo>
                  <a:lnTo>
                    <a:pt x="1968" y="38"/>
                  </a:lnTo>
                  <a:lnTo>
                    <a:pt x="2028" y="28"/>
                  </a:lnTo>
                  <a:lnTo>
                    <a:pt x="2088" y="20"/>
                  </a:lnTo>
                  <a:lnTo>
                    <a:pt x="2148" y="14"/>
                  </a:lnTo>
                  <a:lnTo>
                    <a:pt x="2208" y="8"/>
                  </a:lnTo>
                  <a:lnTo>
                    <a:pt x="2270" y="4"/>
                  </a:lnTo>
                  <a:lnTo>
                    <a:pt x="2330" y="2"/>
                  </a:lnTo>
                  <a:lnTo>
                    <a:pt x="2392" y="0"/>
                  </a:lnTo>
                  <a:lnTo>
                    <a:pt x="2392" y="0"/>
                  </a:lnTo>
                  <a:lnTo>
                    <a:pt x="2454" y="2"/>
                  </a:lnTo>
                  <a:lnTo>
                    <a:pt x="2516" y="4"/>
                  </a:lnTo>
                  <a:lnTo>
                    <a:pt x="2576" y="8"/>
                  </a:lnTo>
                  <a:lnTo>
                    <a:pt x="2638" y="14"/>
                  </a:lnTo>
                  <a:lnTo>
                    <a:pt x="2698" y="20"/>
                  </a:lnTo>
                  <a:lnTo>
                    <a:pt x="2756" y="28"/>
                  </a:lnTo>
                  <a:lnTo>
                    <a:pt x="2816" y="38"/>
                  </a:lnTo>
                  <a:lnTo>
                    <a:pt x="2874" y="50"/>
                  </a:lnTo>
                  <a:lnTo>
                    <a:pt x="2932" y="62"/>
                  </a:lnTo>
                  <a:lnTo>
                    <a:pt x="2990" y="76"/>
                  </a:lnTo>
                  <a:lnTo>
                    <a:pt x="3048" y="92"/>
                  </a:lnTo>
                  <a:lnTo>
                    <a:pt x="3104" y="108"/>
                  </a:lnTo>
                  <a:lnTo>
                    <a:pt x="3160" y="126"/>
                  </a:lnTo>
                  <a:lnTo>
                    <a:pt x="3216" y="146"/>
                  </a:lnTo>
                  <a:lnTo>
                    <a:pt x="3270" y="166"/>
                  </a:lnTo>
                  <a:lnTo>
                    <a:pt x="3324" y="188"/>
                  </a:lnTo>
                  <a:lnTo>
                    <a:pt x="3378" y="212"/>
                  </a:lnTo>
                  <a:lnTo>
                    <a:pt x="3430" y="236"/>
                  </a:lnTo>
                  <a:lnTo>
                    <a:pt x="3482" y="262"/>
                  </a:lnTo>
                  <a:lnTo>
                    <a:pt x="3532" y="290"/>
                  </a:lnTo>
                  <a:lnTo>
                    <a:pt x="3584" y="318"/>
                  </a:lnTo>
                  <a:lnTo>
                    <a:pt x="3634" y="348"/>
                  </a:lnTo>
                  <a:lnTo>
                    <a:pt x="3682" y="378"/>
                  </a:lnTo>
                  <a:lnTo>
                    <a:pt x="3730" y="410"/>
                  </a:lnTo>
                  <a:lnTo>
                    <a:pt x="3778" y="442"/>
                  </a:lnTo>
                  <a:lnTo>
                    <a:pt x="3824" y="476"/>
                  </a:lnTo>
                  <a:lnTo>
                    <a:pt x="3870" y="512"/>
                  </a:lnTo>
                  <a:lnTo>
                    <a:pt x="3914" y="548"/>
                  </a:lnTo>
                  <a:lnTo>
                    <a:pt x="3958" y="584"/>
                  </a:lnTo>
                  <a:lnTo>
                    <a:pt x="4002" y="622"/>
                  </a:lnTo>
                  <a:lnTo>
                    <a:pt x="4044" y="662"/>
                  </a:lnTo>
                  <a:lnTo>
                    <a:pt x="4084" y="702"/>
                  </a:lnTo>
                  <a:lnTo>
                    <a:pt x="4124" y="742"/>
                  </a:lnTo>
                  <a:lnTo>
                    <a:pt x="4164" y="784"/>
                  </a:lnTo>
                  <a:lnTo>
                    <a:pt x="4202" y="828"/>
                  </a:lnTo>
                  <a:lnTo>
                    <a:pt x="4238" y="872"/>
                  </a:lnTo>
                  <a:lnTo>
                    <a:pt x="4274" y="916"/>
                  </a:lnTo>
                  <a:lnTo>
                    <a:pt x="4310" y="962"/>
                  </a:lnTo>
                  <a:lnTo>
                    <a:pt x="4344" y="1008"/>
                  </a:lnTo>
                  <a:lnTo>
                    <a:pt x="4376" y="1056"/>
                  </a:lnTo>
                  <a:lnTo>
                    <a:pt x="4408" y="1104"/>
                  </a:lnTo>
                  <a:lnTo>
                    <a:pt x="4438" y="1152"/>
                  </a:lnTo>
                  <a:lnTo>
                    <a:pt x="4468" y="1202"/>
                  </a:lnTo>
                  <a:lnTo>
                    <a:pt x="4496" y="1252"/>
                  </a:lnTo>
                  <a:lnTo>
                    <a:pt x="4524" y="1304"/>
                  </a:lnTo>
                  <a:lnTo>
                    <a:pt x="4550" y="1356"/>
                  </a:lnTo>
                  <a:lnTo>
                    <a:pt x="4574" y="1408"/>
                  </a:lnTo>
                  <a:lnTo>
                    <a:pt x="4598" y="1462"/>
                  </a:lnTo>
                  <a:lnTo>
                    <a:pt x="4620" y="1516"/>
                  </a:lnTo>
                  <a:lnTo>
                    <a:pt x="4640" y="1570"/>
                  </a:lnTo>
                  <a:lnTo>
                    <a:pt x="4660" y="1626"/>
                  </a:lnTo>
                  <a:lnTo>
                    <a:pt x="4678" y="1682"/>
                  </a:lnTo>
                  <a:lnTo>
                    <a:pt x="4694" y="1738"/>
                  </a:lnTo>
                  <a:lnTo>
                    <a:pt x="4710" y="1796"/>
                  </a:lnTo>
                  <a:lnTo>
                    <a:pt x="4724" y="1854"/>
                  </a:lnTo>
                  <a:lnTo>
                    <a:pt x="4736" y="1912"/>
                  </a:lnTo>
                  <a:lnTo>
                    <a:pt x="4748" y="1970"/>
                  </a:lnTo>
                  <a:lnTo>
                    <a:pt x="4758" y="2030"/>
                  </a:lnTo>
                  <a:lnTo>
                    <a:pt x="4766" y="2088"/>
                  </a:lnTo>
                  <a:lnTo>
                    <a:pt x="4772" y="2148"/>
                  </a:lnTo>
                  <a:lnTo>
                    <a:pt x="4778" y="2210"/>
                  </a:lnTo>
                  <a:lnTo>
                    <a:pt x="4782" y="2270"/>
                  </a:lnTo>
                  <a:lnTo>
                    <a:pt x="4784" y="2332"/>
                  </a:lnTo>
                  <a:lnTo>
                    <a:pt x="4786" y="2394"/>
                  </a:lnTo>
                  <a:lnTo>
                    <a:pt x="4786" y="2394"/>
                  </a:ln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0" name="Rectangle 56">
              <a:extLst>
                <a:ext uri="{FF2B5EF4-FFF2-40B4-BE49-F238E27FC236}">
                  <a16:creationId xmlns:a16="http://schemas.microsoft.com/office/drawing/2014/main" id="{D67C3C06-78A2-4F84-AB20-F21DF7A9ADC7}"/>
                </a:ext>
              </a:extLst>
            </p:cNvPr>
            <p:cNvSpPr>
              <a:spLocks noChangeArrowheads="1"/>
            </p:cNvSpPr>
            <p:nvPr/>
          </p:nvSpPr>
          <p:spPr bwMode="auto">
            <a:xfrm>
              <a:off x="-21280438" y="9863138"/>
              <a:ext cx="161925" cy="1587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1" name="Rectangle 57">
              <a:extLst>
                <a:ext uri="{FF2B5EF4-FFF2-40B4-BE49-F238E27FC236}">
                  <a16:creationId xmlns:a16="http://schemas.microsoft.com/office/drawing/2014/main" id="{15D80F8F-2D71-43F1-AAD5-3B5674BB701C}"/>
                </a:ext>
              </a:extLst>
            </p:cNvPr>
            <p:cNvSpPr>
              <a:spLocks noChangeArrowheads="1"/>
            </p:cNvSpPr>
            <p:nvPr/>
          </p:nvSpPr>
          <p:spPr bwMode="auto">
            <a:xfrm>
              <a:off x="-20953413" y="9863138"/>
              <a:ext cx="165100" cy="1587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2" name="Rectangle 58">
              <a:extLst>
                <a:ext uri="{FF2B5EF4-FFF2-40B4-BE49-F238E27FC236}">
                  <a16:creationId xmlns:a16="http://schemas.microsoft.com/office/drawing/2014/main" id="{DCB3253C-4795-4B17-BCB6-068C6E6CE08E}"/>
                </a:ext>
              </a:extLst>
            </p:cNvPr>
            <p:cNvSpPr>
              <a:spLocks noChangeArrowheads="1"/>
            </p:cNvSpPr>
            <p:nvPr/>
          </p:nvSpPr>
          <p:spPr bwMode="auto">
            <a:xfrm>
              <a:off x="-22267863" y="9863138"/>
              <a:ext cx="165100" cy="1587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3" name="Rectangle 59">
              <a:extLst>
                <a:ext uri="{FF2B5EF4-FFF2-40B4-BE49-F238E27FC236}">
                  <a16:creationId xmlns:a16="http://schemas.microsoft.com/office/drawing/2014/main" id="{57797812-A424-4540-8932-100F32726C4A}"/>
                </a:ext>
              </a:extLst>
            </p:cNvPr>
            <p:cNvSpPr>
              <a:spLocks noChangeArrowheads="1"/>
            </p:cNvSpPr>
            <p:nvPr/>
          </p:nvSpPr>
          <p:spPr bwMode="auto">
            <a:xfrm>
              <a:off x="-21610638" y="9863138"/>
              <a:ext cx="165100" cy="1587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4" name="Rectangle 60">
              <a:extLst>
                <a:ext uri="{FF2B5EF4-FFF2-40B4-BE49-F238E27FC236}">
                  <a16:creationId xmlns:a16="http://schemas.microsoft.com/office/drawing/2014/main" id="{546A0868-D040-48AD-A98D-5F5E13AAE03B}"/>
                </a:ext>
              </a:extLst>
            </p:cNvPr>
            <p:cNvSpPr>
              <a:spLocks noChangeArrowheads="1"/>
            </p:cNvSpPr>
            <p:nvPr/>
          </p:nvSpPr>
          <p:spPr bwMode="auto">
            <a:xfrm>
              <a:off x="-21937663" y="9863138"/>
              <a:ext cx="161925" cy="158750"/>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15" name="Freeform 61">
              <a:extLst>
                <a:ext uri="{FF2B5EF4-FFF2-40B4-BE49-F238E27FC236}">
                  <a16:creationId xmlns:a16="http://schemas.microsoft.com/office/drawing/2014/main" id="{02CF9FC7-488D-4A4D-BA39-496A3FE74E31}"/>
                </a:ext>
              </a:extLst>
            </p:cNvPr>
            <p:cNvSpPr>
              <a:spLocks/>
            </p:cNvSpPr>
            <p:nvPr/>
          </p:nvSpPr>
          <p:spPr bwMode="auto">
            <a:xfrm>
              <a:off x="-24896763" y="9863138"/>
              <a:ext cx="2495550" cy="158750"/>
            </a:xfrm>
            <a:custGeom>
              <a:avLst/>
              <a:gdLst/>
              <a:ahLst/>
              <a:cxnLst>
                <a:cxn ang="0">
                  <a:pos x="348" y="0"/>
                </a:cxn>
                <a:cxn ang="0">
                  <a:pos x="348" y="0"/>
                </a:cxn>
                <a:cxn ang="0">
                  <a:pos x="260" y="32"/>
                </a:cxn>
                <a:cxn ang="0">
                  <a:pos x="170" y="58"/>
                </a:cxn>
                <a:cxn ang="0">
                  <a:pos x="84" y="80"/>
                </a:cxn>
                <a:cxn ang="0">
                  <a:pos x="0" y="100"/>
                </a:cxn>
                <a:cxn ang="0">
                  <a:pos x="0" y="100"/>
                </a:cxn>
                <a:cxn ang="0">
                  <a:pos x="1552" y="100"/>
                </a:cxn>
                <a:cxn ang="0">
                  <a:pos x="1572" y="100"/>
                </a:cxn>
                <a:cxn ang="0">
                  <a:pos x="1572" y="0"/>
                </a:cxn>
                <a:cxn ang="0">
                  <a:pos x="1552" y="0"/>
                </a:cxn>
                <a:cxn ang="0">
                  <a:pos x="1552" y="0"/>
                </a:cxn>
                <a:cxn ang="0">
                  <a:pos x="348" y="0"/>
                </a:cxn>
                <a:cxn ang="0">
                  <a:pos x="348" y="0"/>
                </a:cxn>
              </a:cxnLst>
              <a:rect l="0" t="0" r="r" b="b"/>
              <a:pathLst>
                <a:path w="1572" h="100">
                  <a:moveTo>
                    <a:pt x="348" y="0"/>
                  </a:moveTo>
                  <a:lnTo>
                    <a:pt x="348" y="0"/>
                  </a:lnTo>
                  <a:lnTo>
                    <a:pt x="260" y="32"/>
                  </a:lnTo>
                  <a:lnTo>
                    <a:pt x="170" y="58"/>
                  </a:lnTo>
                  <a:lnTo>
                    <a:pt x="84" y="80"/>
                  </a:lnTo>
                  <a:lnTo>
                    <a:pt x="0" y="100"/>
                  </a:lnTo>
                  <a:lnTo>
                    <a:pt x="0" y="100"/>
                  </a:lnTo>
                  <a:lnTo>
                    <a:pt x="1552" y="100"/>
                  </a:lnTo>
                  <a:lnTo>
                    <a:pt x="1572" y="100"/>
                  </a:lnTo>
                  <a:lnTo>
                    <a:pt x="1572" y="0"/>
                  </a:lnTo>
                  <a:lnTo>
                    <a:pt x="1552" y="0"/>
                  </a:lnTo>
                  <a:lnTo>
                    <a:pt x="1552" y="0"/>
                  </a:lnTo>
                  <a:lnTo>
                    <a:pt x="348" y="0"/>
                  </a:lnTo>
                  <a:lnTo>
                    <a:pt x="348"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6" name="Freeform 62">
              <a:extLst>
                <a:ext uri="{FF2B5EF4-FFF2-40B4-BE49-F238E27FC236}">
                  <a16:creationId xmlns:a16="http://schemas.microsoft.com/office/drawing/2014/main" id="{E8A546B2-8249-47CC-AA36-16E613C2C9D6}"/>
                </a:ext>
              </a:extLst>
            </p:cNvPr>
            <p:cNvSpPr>
              <a:spLocks noEditPoints="1"/>
            </p:cNvSpPr>
            <p:nvPr/>
          </p:nvSpPr>
          <p:spPr bwMode="auto">
            <a:xfrm>
              <a:off x="-25560338" y="5957888"/>
              <a:ext cx="4441825" cy="4064000"/>
            </a:xfrm>
            <a:custGeom>
              <a:avLst/>
              <a:gdLst/>
              <a:ahLst/>
              <a:cxnLst>
                <a:cxn ang="0">
                  <a:pos x="1956" y="1082"/>
                </a:cxn>
                <a:cxn ang="0">
                  <a:pos x="2798" y="238"/>
                </a:cxn>
                <a:cxn ang="0">
                  <a:pos x="2560" y="0"/>
                </a:cxn>
                <a:cxn ang="0">
                  <a:pos x="1716" y="842"/>
                </a:cxn>
                <a:cxn ang="0">
                  <a:pos x="1648" y="912"/>
                </a:cxn>
                <a:cxn ang="0">
                  <a:pos x="0" y="2560"/>
                </a:cxn>
                <a:cxn ang="0">
                  <a:pos x="0" y="2560"/>
                </a:cxn>
                <a:cxn ang="0">
                  <a:pos x="52" y="2556"/>
                </a:cxn>
                <a:cxn ang="0">
                  <a:pos x="108" y="2552"/>
                </a:cxn>
                <a:cxn ang="0">
                  <a:pos x="166" y="2546"/>
                </a:cxn>
                <a:cxn ang="0">
                  <a:pos x="226" y="2536"/>
                </a:cxn>
                <a:cxn ang="0">
                  <a:pos x="288" y="2524"/>
                </a:cxn>
                <a:cxn ang="0">
                  <a:pos x="352" y="2510"/>
                </a:cxn>
                <a:cxn ang="0">
                  <a:pos x="418" y="2494"/>
                </a:cxn>
                <a:cxn ang="0">
                  <a:pos x="486" y="2476"/>
                </a:cxn>
                <a:cxn ang="0">
                  <a:pos x="554" y="2454"/>
                </a:cxn>
                <a:cxn ang="0">
                  <a:pos x="624" y="2428"/>
                </a:cxn>
                <a:cxn ang="0">
                  <a:pos x="694" y="2402"/>
                </a:cxn>
                <a:cxn ang="0">
                  <a:pos x="764" y="2372"/>
                </a:cxn>
                <a:cxn ang="0">
                  <a:pos x="834" y="2338"/>
                </a:cxn>
                <a:cxn ang="0">
                  <a:pos x="906" y="2304"/>
                </a:cxn>
                <a:cxn ang="0">
                  <a:pos x="976" y="2264"/>
                </a:cxn>
                <a:cxn ang="0">
                  <a:pos x="1046" y="2222"/>
                </a:cxn>
                <a:cxn ang="0">
                  <a:pos x="1116" y="2178"/>
                </a:cxn>
                <a:cxn ang="0">
                  <a:pos x="1186" y="2128"/>
                </a:cxn>
                <a:cxn ang="0">
                  <a:pos x="1254" y="2078"/>
                </a:cxn>
                <a:cxn ang="0">
                  <a:pos x="1322" y="2022"/>
                </a:cxn>
                <a:cxn ang="0">
                  <a:pos x="1386" y="1964"/>
                </a:cxn>
                <a:cxn ang="0">
                  <a:pos x="1450" y="1902"/>
                </a:cxn>
                <a:cxn ang="0">
                  <a:pos x="1514" y="1838"/>
                </a:cxn>
                <a:cxn ang="0">
                  <a:pos x="1574" y="1768"/>
                </a:cxn>
                <a:cxn ang="0">
                  <a:pos x="1632" y="1696"/>
                </a:cxn>
                <a:cxn ang="0">
                  <a:pos x="1686" y="1620"/>
                </a:cxn>
                <a:cxn ang="0">
                  <a:pos x="1740" y="1540"/>
                </a:cxn>
                <a:cxn ang="0">
                  <a:pos x="1790" y="1456"/>
                </a:cxn>
                <a:cxn ang="0">
                  <a:pos x="1836" y="1368"/>
                </a:cxn>
                <a:cxn ang="0">
                  <a:pos x="1858" y="1324"/>
                </a:cxn>
                <a:cxn ang="0">
                  <a:pos x="1880" y="1276"/>
                </a:cxn>
                <a:cxn ang="0">
                  <a:pos x="1900" y="1230"/>
                </a:cxn>
                <a:cxn ang="0">
                  <a:pos x="1920" y="1182"/>
                </a:cxn>
                <a:cxn ang="0">
                  <a:pos x="1938" y="1132"/>
                </a:cxn>
                <a:cxn ang="0">
                  <a:pos x="1956" y="1082"/>
                </a:cxn>
                <a:cxn ang="0">
                  <a:pos x="1956" y="1082"/>
                </a:cxn>
                <a:cxn ang="0">
                  <a:pos x="2588" y="96"/>
                </a:cxn>
                <a:cxn ang="0">
                  <a:pos x="2658" y="166"/>
                </a:cxn>
                <a:cxn ang="0">
                  <a:pos x="1868" y="958"/>
                </a:cxn>
                <a:cxn ang="0">
                  <a:pos x="1796" y="888"/>
                </a:cxn>
                <a:cxn ang="0">
                  <a:pos x="2588" y="96"/>
                </a:cxn>
              </a:cxnLst>
              <a:rect l="0" t="0" r="r" b="b"/>
              <a:pathLst>
                <a:path w="2798" h="2560">
                  <a:moveTo>
                    <a:pt x="1956" y="1082"/>
                  </a:moveTo>
                  <a:lnTo>
                    <a:pt x="2798" y="238"/>
                  </a:lnTo>
                  <a:lnTo>
                    <a:pt x="2560" y="0"/>
                  </a:lnTo>
                  <a:lnTo>
                    <a:pt x="1716" y="842"/>
                  </a:lnTo>
                  <a:lnTo>
                    <a:pt x="1648" y="912"/>
                  </a:lnTo>
                  <a:lnTo>
                    <a:pt x="0" y="2560"/>
                  </a:lnTo>
                  <a:lnTo>
                    <a:pt x="0" y="2560"/>
                  </a:lnTo>
                  <a:lnTo>
                    <a:pt x="52" y="2556"/>
                  </a:lnTo>
                  <a:lnTo>
                    <a:pt x="108" y="2552"/>
                  </a:lnTo>
                  <a:lnTo>
                    <a:pt x="166" y="2546"/>
                  </a:lnTo>
                  <a:lnTo>
                    <a:pt x="226" y="2536"/>
                  </a:lnTo>
                  <a:lnTo>
                    <a:pt x="288" y="2524"/>
                  </a:lnTo>
                  <a:lnTo>
                    <a:pt x="352" y="2510"/>
                  </a:lnTo>
                  <a:lnTo>
                    <a:pt x="418" y="2494"/>
                  </a:lnTo>
                  <a:lnTo>
                    <a:pt x="486" y="2476"/>
                  </a:lnTo>
                  <a:lnTo>
                    <a:pt x="554" y="2454"/>
                  </a:lnTo>
                  <a:lnTo>
                    <a:pt x="624" y="2428"/>
                  </a:lnTo>
                  <a:lnTo>
                    <a:pt x="694" y="2402"/>
                  </a:lnTo>
                  <a:lnTo>
                    <a:pt x="764" y="2372"/>
                  </a:lnTo>
                  <a:lnTo>
                    <a:pt x="834" y="2338"/>
                  </a:lnTo>
                  <a:lnTo>
                    <a:pt x="906" y="2304"/>
                  </a:lnTo>
                  <a:lnTo>
                    <a:pt x="976" y="2264"/>
                  </a:lnTo>
                  <a:lnTo>
                    <a:pt x="1046" y="2222"/>
                  </a:lnTo>
                  <a:lnTo>
                    <a:pt x="1116" y="2178"/>
                  </a:lnTo>
                  <a:lnTo>
                    <a:pt x="1186" y="2128"/>
                  </a:lnTo>
                  <a:lnTo>
                    <a:pt x="1254" y="2078"/>
                  </a:lnTo>
                  <a:lnTo>
                    <a:pt x="1322" y="2022"/>
                  </a:lnTo>
                  <a:lnTo>
                    <a:pt x="1386" y="1964"/>
                  </a:lnTo>
                  <a:lnTo>
                    <a:pt x="1450" y="1902"/>
                  </a:lnTo>
                  <a:lnTo>
                    <a:pt x="1514" y="1838"/>
                  </a:lnTo>
                  <a:lnTo>
                    <a:pt x="1574" y="1768"/>
                  </a:lnTo>
                  <a:lnTo>
                    <a:pt x="1632" y="1696"/>
                  </a:lnTo>
                  <a:lnTo>
                    <a:pt x="1686" y="1620"/>
                  </a:lnTo>
                  <a:lnTo>
                    <a:pt x="1740" y="1540"/>
                  </a:lnTo>
                  <a:lnTo>
                    <a:pt x="1790" y="1456"/>
                  </a:lnTo>
                  <a:lnTo>
                    <a:pt x="1836" y="1368"/>
                  </a:lnTo>
                  <a:lnTo>
                    <a:pt x="1858" y="1324"/>
                  </a:lnTo>
                  <a:lnTo>
                    <a:pt x="1880" y="1276"/>
                  </a:lnTo>
                  <a:lnTo>
                    <a:pt x="1900" y="1230"/>
                  </a:lnTo>
                  <a:lnTo>
                    <a:pt x="1920" y="1182"/>
                  </a:lnTo>
                  <a:lnTo>
                    <a:pt x="1938" y="1132"/>
                  </a:lnTo>
                  <a:lnTo>
                    <a:pt x="1956" y="1082"/>
                  </a:lnTo>
                  <a:lnTo>
                    <a:pt x="1956" y="1082"/>
                  </a:lnTo>
                  <a:close/>
                  <a:moveTo>
                    <a:pt x="2588" y="96"/>
                  </a:moveTo>
                  <a:lnTo>
                    <a:pt x="2658" y="166"/>
                  </a:lnTo>
                  <a:lnTo>
                    <a:pt x="1868" y="958"/>
                  </a:lnTo>
                  <a:lnTo>
                    <a:pt x="1796" y="888"/>
                  </a:lnTo>
                  <a:lnTo>
                    <a:pt x="2588" y="9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grpSp>
        <p:nvGrpSpPr>
          <p:cNvPr id="217" name="Group 147">
            <a:extLst>
              <a:ext uri="{FF2B5EF4-FFF2-40B4-BE49-F238E27FC236}">
                <a16:creationId xmlns:a16="http://schemas.microsoft.com/office/drawing/2014/main" id="{608824C2-1CC4-4842-B3D6-1B428C23479C}"/>
              </a:ext>
            </a:extLst>
          </p:cNvPr>
          <p:cNvGrpSpPr/>
          <p:nvPr/>
        </p:nvGrpSpPr>
        <p:grpSpPr>
          <a:xfrm>
            <a:off x="7687455" y="3822098"/>
            <a:ext cx="616463" cy="599892"/>
            <a:chOff x="2967038" y="24664988"/>
            <a:chExt cx="7183459" cy="7183459"/>
          </a:xfrm>
        </p:grpSpPr>
        <p:sp>
          <p:nvSpPr>
            <p:cNvPr id="218" name="Freeform 106">
              <a:extLst>
                <a:ext uri="{FF2B5EF4-FFF2-40B4-BE49-F238E27FC236}">
                  <a16:creationId xmlns:a16="http://schemas.microsoft.com/office/drawing/2014/main" id="{7A334147-09CD-4035-AFC4-F646FD19F390}"/>
                </a:ext>
              </a:extLst>
            </p:cNvPr>
            <p:cNvSpPr>
              <a:spLocks/>
            </p:cNvSpPr>
            <p:nvPr/>
          </p:nvSpPr>
          <p:spPr bwMode="auto">
            <a:xfrm>
              <a:off x="2967038" y="24664988"/>
              <a:ext cx="7183459" cy="7183459"/>
            </a:xfrm>
            <a:custGeom>
              <a:avLst/>
              <a:gdLst/>
              <a:ahLst/>
              <a:cxnLst>
                <a:cxn ang="0">
                  <a:pos x="4780" y="2578"/>
                </a:cxn>
                <a:cxn ang="0">
                  <a:pos x="4738" y="2876"/>
                </a:cxn>
                <a:cxn ang="0">
                  <a:pos x="4660" y="3162"/>
                </a:cxn>
                <a:cxn ang="0">
                  <a:pos x="4550" y="3430"/>
                </a:cxn>
                <a:cxn ang="0">
                  <a:pos x="4410" y="3684"/>
                </a:cxn>
                <a:cxn ang="0">
                  <a:pos x="4240" y="3916"/>
                </a:cxn>
                <a:cxn ang="0">
                  <a:pos x="4044" y="4126"/>
                </a:cxn>
                <a:cxn ang="0">
                  <a:pos x="3826" y="4312"/>
                </a:cxn>
                <a:cxn ang="0">
                  <a:pos x="3584" y="4470"/>
                </a:cxn>
                <a:cxn ang="0">
                  <a:pos x="3324" y="4598"/>
                </a:cxn>
                <a:cxn ang="0">
                  <a:pos x="3048" y="4696"/>
                </a:cxn>
                <a:cxn ang="0">
                  <a:pos x="2758" y="4758"/>
                </a:cxn>
                <a:cxn ang="0">
                  <a:pos x="2456" y="4786"/>
                </a:cxn>
                <a:cxn ang="0">
                  <a:pos x="2210" y="4780"/>
                </a:cxn>
                <a:cxn ang="0">
                  <a:pos x="1912" y="4738"/>
                </a:cxn>
                <a:cxn ang="0">
                  <a:pos x="1626" y="4660"/>
                </a:cxn>
                <a:cxn ang="0">
                  <a:pos x="1356" y="4550"/>
                </a:cxn>
                <a:cxn ang="0">
                  <a:pos x="1104" y="4410"/>
                </a:cxn>
                <a:cxn ang="0">
                  <a:pos x="872" y="4240"/>
                </a:cxn>
                <a:cxn ang="0">
                  <a:pos x="662" y="4044"/>
                </a:cxn>
                <a:cxn ang="0">
                  <a:pos x="476" y="3826"/>
                </a:cxn>
                <a:cxn ang="0">
                  <a:pos x="318" y="3584"/>
                </a:cxn>
                <a:cxn ang="0">
                  <a:pos x="188" y="3324"/>
                </a:cxn>
                <a:cxn ang="0">
                  <a:pos x="92" y="3048"/>
                </a:cxn>
                <a:cxn ang="0">
                  <a:pos x="28" y="2758"/>
                </a:cxn>
                <a:cxn ang="0">
                  <a:pos x="2" y="2456"/>
                </a:cxn>
                <a:cxn ang="0">
                  <a:pos x="8" y="2210"/>
                </a:cxn>
                <a:cxn ang="0">
                  <a:pos x="50" y="1912"/>
                </a:cxn>
                <a:cxn ang="0">
                  <a:pos x="126" y="1626"/>
                </a:cxn>
                <a:cxn ang="0">
                  <a:pos x="236" y="1356"/>
                </a:cxn>
                <a:cxn ang="0">
                  <a:pos x="378" y="1104"/>
                </a:cxn>
                <a:cxn ang="0">
                  <a:pos x="548" y="872"/>
                </a:cxn>
                <a:cxn ang="0">
                  <a:pos x="742" y="662"/>
                </a:cxn>
                <a:cxn ang="0">
                  <a:pos x="962" y="476"/>
                </a:cxn>
                <a:cxn ang="0">
                  <a:pos x="1202" y="318"/>
                </a:cxn>
                <a:cxn ang="0">
                  <a:pos x="1462" y="188"/>
                </a:cxn>
                <a:cxn ang="0">
                  <a:pos x="1738" y="92"/>
                </a:cxn>
                <a:cxn ang="0">
                  <a:pos x="2030" y="28"/>
                </a:cxn>
                <a:cxn ang="0">
                  <a:pos x="2332" y="2"/>
                </a:cxn>
                <a:cxn ang="0">
                  <a:pos x="2578" y="8"/>
                </a:cxn>
                <a:cxn ang="0">
                  <a:pos x="2876" y="50"/>
                </a:cxn>
                <a:cxn ang="0">
                  <a:pos x="3160" y="126"/>
                </a:cxn>
                <a:cxn ang="0">
                  <a:pos x="3430" y="236"/>
                </a:cxn>
                <a:cxn ang="0">
                  <a:pos x="3684" y="378"/>
                </a:cxn>
                <a:cxn ang="0">
                  <a:pos x="3916" y="548"/>
                </a:cxn>
                <a:cxn ang="0">
                  <a:pos x="4126" y="742"/>
                </a:cxn>
                <a:cxn ang="0">
                  <a:pos x="4310" y="962"/>
                </a:cxn>
                <a:cxn ang="0">
                  <a:pos x="4470" y="1202"/>
                </a:cxn>
                <a:cxn ang="0">
                  <a:pos x="4598" y="1462"/>
                </a:cxn>
                <a:cxn ang="0">
                  <a:pos x="4696" y="1738"/>
                </a:cxn>
                <a:cxn ang="0">
                  <a:pos x="4758" y="2030"/>
                </a:cxn>
                <a:cxn ang="0">
                  <a:pos x="4786" y="2332"/>
                </a:cxn>
              </a:cxnLst>
              <a:rect l="0" t="0" r="r" b="b"/>
              <a:pathLst>
                <a:path w="4786" h="4786">
                  <a:moveTo>
                    <a:pt x="4786" y="2394"/>
                  </a:moveTo>
                  <a:lnTo>
                    <a:pt x="4786" y="2394"/>
                  </a:lnTo>
                  <a:lnTo>
                    <a:pt x="4786" y="2456"/>
                  </a:lnTo>
                  <a:lnTo>
                    <a:pt x="4784" y="2516"/>
                  </a:lnTo>
                  <a:lnTo>
                    <a:pt x="4780" y="2578"/>
                  </a:lnTo>
                  <a:lnTo>
                    <a:pt x="4774" y="2638"/>
                  </a:lnTo>
                  <a:lnTo>
                    <a:pt x="4768" y="2698"/>
                  </a:lnTo>
                  <a:lnTo>
                    <a:pt x="4758" y="2758"/>
                  </a:lnTo>
                  <a:lnTo>
                    <a:pt x="4748" y="2818"/>
                  </a:lnTo>
                  <a:lnTo>
                    <a:pt x="4738" y="2876"/>
                  </a:lnTo>
                  <a:lnTo>
                    <a:pt x="4726" y="2934"/>
                  </a:lnTo>
                  <a:lnTo>
                    <a:pt x="4712" y="2992"/>
                  </a:lnTo>
                  <a:lnTo>
                    <a:pt x="4696" y="3048"/>
                  </a:lnTo>
                  <a:lnTo>
                    <a:pt x="4678" y="3106"/>
                  </a:lnTo>
                  <a:lnTo>
                    <a:pt x="4660" y="3162"/>
                  </a:lnTo>
                  <a:lnTo>
                    <a:pt x="4642" y="3216"/>
                  </a:lnTo>
                  <a:lnTo>
                    <a:pt x="4620" y="3270"/>
                  </a:lnTo>
                  <a:lnTo>
                    <a:pt x="4598" y="3324"/>
                  </a:lnTo>
                  <a:lnTo>
                    <a:pt x="4574" y="3378"/>
                  </a:lnTo>
                  <a:lnTo>
                    <a:pt x="4550" y="3430"/>
                  </a:lnTo>
                  <a:lnTo>
                    <a:pt x="4524" y="3482"/>
                  </a:lnTo>
                  <a:lnTo>
                    <a:pt x="4498" y="3534"/>
                  </a:lnTo>
                  <a:lnTo>
                    <a:pt x="4470" y="3584"/>
                  </a:lnTo>
                  <a:lnTo>
                    <a:pt x="4440" y="3634"/>
                  </a:lnTo>
                  <a:lnTo>
                    <a:pt x="4410" y="3684"/>
                  </a:lnTo>
                  <a:lnTo>
                    <a:pt x="4378" y="3732"/>
                  </a:lnTo>
                  <a:lnTo>
                    <a:pt x="4344" y="3778"/>
                  </a:lnTo>
                  <a:lnTo>
                    <a:pt x="4310" y="3826"/>
                  </a:lnTo>
                  <a:lnTo>
                    <a:pt x="4276" y="3870"/>
                  </a:lnTo>
                  <a:lnTo>
                    <a:pt x="4240" y="3916"/>
                  </a:lnTo>
                  <a:lnTo>
                    <a:pt x="4202" y="3960"/>
                  </a:lnTo>
                  <a:lnTo>
                    <a:pt x="4164" y="4002"/>
                  </a:lnTo>
                  <a:lnTo>
                    <a:pt x="4126" y="4044"/>
                  </a:lnTo>
                  <a:lnTo>
                    <a:pt x="4086" y="4086"/>
                  </a:lnTo>
                  <a:lnTo>
                    <a:pt x="4044" y="4126"/>
                  </a:lnTo>
                  <a:lnTo>
                    <a:pt x="4002" y="4164"/>
                  </a:lnTo>
                  <a:lnTo>
                    <a:pt x="3960" y="4202"/>
                  </a:lnTo>
                  <a:lnTo>
                    <a:pt x="3916" y="4240"/>
                  </a:lnTo>
                  <a:lnTo>
                    <a:pt x="3870" y="4276"/>
                  </a:lnTo>
                  <a:lnTo>
                    <a:pt x="3826" y="4312"/>
                  </a:lnTo>
                  <a:lnTo>
                    <a:pt x="3778" y="4344"/>
                  </a:lnTo>
                  <a:lnTo>
                    <a:pt x="3732" y="4378"/>
                  </a:lnTo>
                  <a:lnTo>
                    <a:pt x="3684" y="4410"/>
                  </a:lnTo>
                  <a:lnTo>
                    <a:pt x="3634" y="4440"/>
                  </a:lnTo>
                  <a:lnTo>
                    <a:pt x="3584" y="4470"/>
                  </a:lnTo>
                  <a:lnTo>
                    <a:pt x="3534" y="4498"/>
                  </a:lnTo>
                  <a:lnTo>
                    <a:pt x="3482" y="4524"/>
                  </a:lnTo>
                  <a:lnTo>
                    <a:pt x="3430" y="4550"/>
                  </a:lnTo>
                  <a:lnTo>
                    <a:pt x="3378" y="4576"/>
                  </a:lnTo>
                  <a:lnTo>
                    <a:pt x="3324" y="4598"/>
                  </a:lnTo>
                  <a:lnTo>
                    <a:pt x="3270" y="4620"/>
                  </a:lnTo>
                  <a:lnTo>
                    <a:pt x="3216" y="4642"/>
                  </a:lnTo>
                  <a:lnTo>
                    <a:pt x="3160" y="4660"/>
                  </a:lnTo>
                  <a:lnTo>
                    <a:pt x="3106" y="4678"/>
                  </a:lnTo>
                  <a:lnTo>
                    <a:pt x="3048" y="4696"/>
                  </a:lnTo>
                  <a:lnTo>
                    <a:pt x="2992" y="4712"/>
                  </a:lnTo>
                  <a:lnTo>
                    <a:pt x="2934" y="4726"/>
                  </a:lnTo>
                  <a:lnTo>
                    <a:pt x="2876" y="4738"/>
                  </a:lnTo>
                  <a:lnTo>
                    <a:pt x="2818" y="4750"/>
                  </a:lnTo>
                  <a:lnTo>
                    <a:pt x="2758" y="4758"/>
                  </a:lnTo>
                  <a:lnTo>
                    <a:pt x="2698" y="4768"/>
                  </a:lnTo>
                  <a:lnTo>
                    <a:pt x="2638" y="4774"/>
                  </a:lnTo>
                  <a:lnTo>
                    <a:pt x="2578" y="4780"/>
                  </a:lnTo>
                  <a:lnTo>
                    <a:pt x="2516" y="4784"/>
                  </a:lnTo>
                  <a:lnTo>
                    <a:pt x="2456" y="4786"/>
                  </a:lnTo>
                  <a:lnTo>
                    <a:pt x="2394" y="4786"/>
                  </a:lnTo>
                  <a:lnTo>
                    <a:pt x="2394" y="4786"/>
                  </a:lnTo>
                  <a:lnTo>
                    <a:pt x="2332" y="4786"/>
                  </a:lnTo>
                  <a:lnTo>
                    <a:pt x="2270" y="4784"/>
                  </a:lnTo>
                  <a:lnTo>
                    <a:pt x="2210" y="4780"/>
                  </a:lnTo>
                  <a:lnTo>
                    <a:pt x="2148" y="4774"/>
                  </a:lnTo>
                  <a:lnTo>
                    <a:pt x="2088" y="4768"/>
                  </a:lnTo>
                  <a:lnTo>
                    <a:pt x="2030" y="4758"/>
                  </a:lnTo>
                  <a:lnTo>
                    <a:pt x="1970" y="4750"/>
                  </a:lnTo>
                  <a:lnTo>
                    <a:pt x="1912" y="4738"/>
                  </a:lnTo>
                  <a:lnTo>
                    <a:pt x="1854" y="4726"/>
                  </a:lnTo>
                  <a:lnTo>
                    <a:pt x="1796" y="4712"/>
                  </a:lnTo>
                  <a:lnTo>
                    <a:pt x="1738" y="4696"/>
                  </a:lnTo>
                  <a:lnTo>
                    <a:pt x="1682" y="4678"/>
                  </a:lnTo>
                  <a:lnTo>
                    <a:pt x="1626" y="4660"/>
                  </a:lnTo>
                  <a:lnTo>
                    <a:pt x="1570" y="4642"/>
                  </a:lnTo>
                  <a:lnTo>
                    <a:pt x="1516" y="4620"/>
                  </a:lnTo>
                  <a:lnTo>
                    <a:pt x="1462" y="4598"/>
                  </a:lnTo>
                  <a:lnTo>
                    <a:pt x="1408" y="4576"/>
                  </a:lnTo>
                  <a:lnTo>
                    <a:pt x="1356" y="4550"/>
                  </a:lnTo>
                  <a:lnTo>
                    <a:pt x="1304" y="4524"/>
                  </a:lnTo>
                  <a:lnTo>
                    <a:pt x="1252" y="4498"/>
                  </a:lnTo>
                  <a:lnTo>
                    <a:pt x="1202" y="4470"/>
                  </a:lnTo>
                  <a:lnTo>
                    <a:pt x="1152" y="4440"/>
                  </a:lnTo>
                  <a:lnTo>
                    <a:pt x="1104" y="4410"/>
                  </a:lnTo>
                  <a:lnTo>
                    <a:pt x="1056" y="4378"/>
                  </a:lnTo>
                  <a:lnTo>
                    <a:pt x="1008" y="4344"/>
                  </a:lnTo>
                  <a:lnTo>
                    <a:pt x="962" y="4312"/>
                  </a:lnTo>
                  <a:lnTo>
                    <a:pt x="916" y="4276"/>
                  </a:lnTo>
                  <a:lnTo>
                    <a:pt x="872" y="4240"/>
                  </a:lnTo>
                  <a:lnTo>
                    <a:pt x="828" y="4202"/>
                  </a:lnTo>
                  <a:lnTo>
                    <a:pt x="784" y="4164"/>
                  </a:lnTo>
                  <a:lnTo>
                    <a:pt x="742" y="4126"/>
                  </a:lnTo>
                  <a:lnTo>
                    <a:pt x="702" y="4086"/>
                  </a:lnTo>
                  <a:lnTo>
                    <a:pt x="662" y="4044"/>
                  </a:lnTo>
                  <a:lnTo>
                    <a:pt x="622" y="4002"/>
                  </a:lnTo>
                  <a:lnTo>
                    <a:pt x="584" y="3960"/>
                  </a:lnTo>
                  <a:lnTo>
                    <a:pt x="548" y="3916"/>
                  </a:lnTo>
                  <a:lnTo>
                    <a:pt x="512" y="3870"/>
                  </a:lnTo>
                  <a:lnTo>
                    <a:pt x="476" y="3826"/>
                  </a:lnTo>
                  <a:lnTo>
                    <a:pt x="442" y="3778"/>
                  </a:lnTo>
                  <a:lnTo>
                    <a:pt x="410" y="3732"/>
                  </a:lnTo>
                  <a:lnTo>
                    <a:pt x="378" y="3684"/>
                  </a:lnTo>
                  <a:lnTo>
                    <a:pt x="348" y="3634"/>
                  </a:lnTo>
                  <a:lnTo>
                    <a:pt x="318" y="3584"/>
                  </a:lnTo>
                  <a:lnTo>
                    <a:pt x="290" y="3534"/>
                  </a:lnTo>
                  <a:lnTo>
                    <a:pt x="262" y="3482"/>
                  </a:lnTo>
                  <a:lnTo>
                    <a:pt x="236" y="3430"/>
                  </a:lnTo>
                  <a:lnTo>
                    <a:pt x="212" y="3378"/>
                  </a:lnTo>
                  <a:lnTo>
                    <a:pt x="188" y="3324"/>
                  </a:lnTo>
                  <a:lnTo>
                    <a:pt x="166" y="3270"/>
                  </a:lnTo>
                  <a:lnTo>
                    <a:pt x="146" y="3216"/>
                  </a:lnTo>
                  <a:lnTo>
                    <a:pt x="126" y="3162"/>
                  </a:lnTo>
                  <a:lnTo>
                    <a:pt x="108" y="3106"/>
                  </a:lnTo>
                  <a:lnTo>
                    <a:pt x="92" y="3048"/>
                  </a:lnTo>
                  <a:lnTo>
                    <a:pt x="76" y="2992"/>
                  </a:lnTo>
                  <a:lnTo>
                    <a:pt x="62" y="2934"/>
                  </a:lnTo>
                  <a:lnTo>
                    <a:pt x="50" y="2876"/>
                  </a:lnTo>
                  <a:lnTo>
                    <a:pt x="38" y="2818"/>
                  </a:lnTo>
                  <a:lnTo>
                    <a:pt x="28" y="2758"/>
                  </a:lnTo>
                  <a:lnTo>
                    <a:pt x="20" y="2698"/>
                  </a:lnTo>
                  <a:lnTo>
                    <a:pt x="14" y="2638"/>
                  </a:lnTo>
                  <a:lnTo>
                    <a:pt x="8" y="2578"/>
                  </a:lnTo>
                  <a:lnTo>
                    <a:pt x="4" y="2516"/>
                  </a:lnTo>
                  <a:lnTo>
                    <a:pt x="2" y="2456"/>
                  </a:lnTo>
                  <a:lnTo>
                    <a:pt x="0" y="2394"/>
                  </a:lnTo>
                  <a:lnTo>
                    <a:pt x="0" y="2394"/>
                  </a:lnTo>
                  <a:lnTo>
                    <a:pt x="2" y="2332"/>
                  </a:lnTo>
                  <a:lnTo>
                    <a:pt x="4" y="2270"/>
                  </a:lnTo>
                  <a:lnTo>
                    <a:pt x="8" y="2210"/>
                  </a:lnTo>
                  <a:lnTo>
                    <a:pt x="14" y="2148"/>
                  </a:lnTo>
                  <a:lnTo>
                    <a:pt x="20" y="2088"/>
                  </a:lnTo>
                  <a:lnTo>
                    <a:pt x="28" y="2030"/>
                  </a:lnTo>
                  <a:lnTo>
                    <a:pt x="38" y="1970"/>
                  </a:lnTo>
                  <a:lnTo>
                    <a:pt x="50" y="1912"/>
                  </a:lnTo>
                  <a:lnTo>
                    <a:pt x="62" y="1854"/>
                  </a:lnTo>
                  <a:lnTo>
                    <a:pt x="76" y="1796"/>
                  </a:lnTo>
                  <a:lnTo>
                    <a:pt x="92" y="1738"/>
                  </a:lnTo>
                  <a:lnTo>
                    <a:pt x="108" y="1682"/>
                  </a:lnTo>
                  <a:lnTo>
                    <a:pt x="126" y="1626"/>
                  </a:lnTo>
                  <a:lnTo>
                    <a:pt x="146" y="1570"/>
                  </a:lnTo>
                  <a:lnTo>
                    <a:pt x="166" y="1516"/>
                  </a:lnTo>
                  <a:lnTo>
                    <a:pt x="188" y="1462"/>
                  </a:lnTo>
                  <a:lnTo>
                    <a:pt x="212" y="1408"/>
                  </a:lnTo>
                  <a:lnTo>
                    <a:pt x="236" y="1356"/>
                  </a:lnTo>
                  <a:lnTo>
                    <a:pt x="262" y="1304"/>
                  </a:lnTo>
                  <a:lnTo>
                    <a:pt x="290" y="1254"/>
                  </a:lnTo>
                  <a:lnTo>
                    <a:pt x="318" y="1202"/>
                  </a:lnTo>
                  <a:lnTo>
                    <a:pt x="348" y="1152"/>
                  </a:lnTo>
                  <a:lnTo>
                    <a:pt x="378" y="1104"/>
                  </a:lnTo>
                  <a:lnTo>
                    <a:pt x="410" y="1056"/>
                  </a:lnTo>
                  <a:lnTo>
                    <a:pt x="442" y="1008"/>
                  </a:lnTo>
                  <a:lnTo>
                    <a:pt x="476" y="962"/>
                  </a:lnTo>
                  <a:lnTo>
                    <a:pt x="512" y="916"/>
                  </a:lnTo>
                  <a:lnTo>
                    <a:pt x="548" y="872"/>
                  </a:lnTo>
                  <a:lnTo>
                    <a:pt x="584" y="828"/>
                  </a:lnTo>
                  <a:lnTo>
                    <a:pt x="622" y="784"/>
                  </a:lnTo>
                  <a:lnTo>
                    <a:pt x="662" y="742"/>
                  </a:lnTo>
                  <a:lnTo>
                    <a:pt x="702" y="702"/>
                  </a:lnTo>
                  <a:lnTo>
                    <a:pt x="742" y="662"/>
                  </a:lnTo>
                  <a:lnTo>
                    <a:pt x="784" y="622"/>
                  </a:lnTo>
                  <a:lnTo>
                    <a:pt x="828" y="584"/>
                  </a:lnTo>
                  <a:lnTo>
                    <a:pt x="872" y="548"/>
                  </a:lnTo>
                  <a:lnTo>
                    <a:pt x="916" y="512"/>
                  </a:lnTo>
                  <a:lnTo>
                    <a:pt x="962" y="476"/>
                  </a:lnTo>
                  <a:lnTo>
                    <a:pt x="1008" y="442"/>
                  </a:lnTo>
                  <a:lnTo>
                    <a:pt x="1056" y="410"/>
                  </a:lnTo>
                  <a:lnTo>
                    <a:pt x="1104" y="378"/>
                  </a:lnTo>
                  <a:lnTo>
                    <a:pt x="1152" y="348"/>
                  </a:lnTo>
                  <a:lnTo>
                    <a:pt x="1202" y="318"/>
                  </a:lnTo>
                  <a:lnTo>
                    <a:pt x="1252" y="290"/>
                  </a:lnTo>
                  <a:lnTo>
                    <a:pt x="1304" y="262"/>
                  </a:lnTo>
                  <a:lnTo>
                    <a:pt x="1356" y="236"/>
                  </a:lnTo>
                  <a:lnTo>
                    <a:pt x="1408" y="212"/>
                  </a:lnTo>
                  <a:lnTo>
                    <a:pt x="1462" y="188"/>
                  </a:lnTo>
                  <a:lnTo>
                    <a:pt x="1516" y="166"/>
                  </a:lnTo>
                  <a:lnTo>
                    <a:pt x="1570" y="146"/>
                  </a:lnTo>
                  <a:lnTo>
                    <a:pt x="1626" y="126"/>
                  </a:lnTo>
                  <a:lnTo>
                    <a:pt x="1682" y="108"/>
                  </a:lnTo>
                  <a:lnTo>
                    <a:pt x="1738" y="92"/>
                  </a:lnTo>
                  <a:lnTo>
                    <a:pt x="1796" y="76"/>
                  </a:lnTo>
                  <a:lnTo>
                    <a:pt x="1854" y="62"/>
                  </a:lnTo>
                  <a:lnTo>
                    <a:pt x="1912" y="50"/>
                  </a:lnTo>
                  <a:lnTo>
                    <a:pt x="1970" y="38"/>
                  </a:lnTo>
                  <a:lnTo>
                    <a:pt x="2030" y="28"/>
                  </a:lnTo>
                  <a:lnTo>
                    <a:pt x="2088" y="20"/>
                  </a:lnTo>
                  <a:lnTo>
                    <a:pt x="2148" y="14"/>
                  </a:lnTo>
                  <a:lnTo>
                    <a:pt x="2210" y="8"/>
                  </a:lnTo>
                  <a:lnTo>
                    <a:pt x="2270" y="4"/>
                  </a:lnTo>
                  <a:lnTo>
                    <a:pt x="2332" y="2"/>
                  </a:lnTo>
                  <a:lnTo>
                    <a:pt x="2394" y="0"/>
                  </a:lnTo>
                  <a:lnTo>
                    <a:pt x="2394" y="0"/>
                  </a:lnTo>
                  <a:lnTo>
                    <a:pt x="2456" y="2"/>
                  </a:lnTo>
                  <a:lnTo>
                    <a:pt x="2516" y="4"/>
                  </a:lnTo>
                  <a:lnTo>
                    <a:pt x="2578" y="8"/>
                  </a:lnTo>
                  <a:lnTo>
                    <a:pt x="2638" y="14"/>
                  </a:lnTo>
                  <a:lnTo>
                    <a:pt x="2698" y="20"/>
                  </a:lnTo>
                  <a:lnTo>
                    <a:pt x="2758" y="28"/>
                  </a:lnTo>
                  <a:lnTo>
                    <a:pt x="2818" y="38"/>
                  </a:lnTo>
                  <a:lnTo>
                    <a:pt x="2876" y="50"/>
                  </a:lnTo>
                  <a:lnTo>
                    <a:pt x="2934" y="62"/>
                  </a:lnTo>
                  <a:lnTo>
                    <a:pt x="2992" y="76"/>
                  </a:lnTo>
                  <a:lnTo>
                    <a:pt x="3048" y="92"/>
                  </a:lnTo>
                  <a:lnTo>
                    <a:pt x="3106" y="108"/>
                  </a:lnTo>
                  <a:lnTo>
                    <a:pt x="3160" y="126"/>
                  </a:lnTo>
                  <a:lnTo>
                    <a:pt x="3216" y="146"/>
                  </a:lnTo>
                  <a:lnTo>
                    <a:pt x="3270" y="166"/>
                  </a:lnTo>
                  <a:lnTo>
                    <a:pt x="3324" y="188"/>
                  </a:lnTo>
                  <a:lnTo>
                    <a:pt x="3378" y="212"/>
                  </a:lnTo>
                  <a:lnTo>
                    <a:pt x="3430" y="236"/>
                  </a:lnTo>
                  <a:lnTo>
                    <a:pt x="3482" y="262"/>
                  </a:lnTo>
                  <a:lnTo>
                    <a:pt x="3534" y="290"/>
                  </a:lnTo>
                  <a:lnTo>
                    <a:pt x="3584" y="318"/>
                  </a:lnTo>
                  <a:lnTo>
                    <a:pt x="3634" y="348"/>
                  </a:lnTo>
                  <a:lnTo>
                    <a:pt x="3684" y="378"/>
                  </a:lnTo>
                  <a:lnTo>
                    <a:pt x="3732" y="410"/>
                  </a:lnTo>
                  <a:lnTo>
                    <a:pt x="3778" y="442"/>
                  </a:lnTo>
                  <a:lnTo>
                    <a:pt x="3826" y="476"/>
                  </a:lnTo>
                  <a:lnTo>
                    <a:pt x="3870" y="512"/>
                  </a:lnTo>
                  <a:lnTo>
                    <a:pt x="3916" y="548"/>
                  </a:lnTo>
                  <a:lnTo>
                    <a:pt x="3960" y="584"/>
                  </a:lnTo>
                  <a:lnTo>
                    <a:pt x="4002" y="622"/>
                  </a:lnTo>
                  <a:lnTo>
                    <a:pt x="4044" y="662"/>
                  </a:lnTo>
                  <a:lnTo>
                    <a:pt x="4086" y="702"/>
                  </a:lnTo>
                  <a:lnTo>
                    <a:pt x="4126" y="742"/>
                  </a:lnTo>
                  <a:lnTo>
                    <a:pt x="4164" y="784"/>
                  </a:lnTo>
                  <a:lnTo>
                    <a:pt x="4202" y="828"/>
                  </a:lnTo>
                  <a:lnTo>
                    <a:pt x="4240" y="872"/>
                  </a:lnTo>
                  <a:lnTo>
                    <a:pt x="4276" y="916"/>
                  </a:lnTo>
                  <a:lnTo>
                    <a:pt x="4310" y="962"/>
                  </a:lnTo>
                  <a:lnTo>
                    <a:pt x="4344" y="1008"/>
                  </a:lnTo>
                  <a:lnTo>
                    <a:pt x="4378" y="1056"/>
                  </a:lnTo>
                  <a:lnTo>
                    <a:pt x="4410" y="1104"/>
                  </a:lnTo>
                  <a:lnTo>
                    <a:pt x="4440" y="1152"/>
                  </a:lnTo>
                  <a:lnTo>
                    <a:pt x="4470" y="1202"/>
                  </a:lnTo>
                  <a:lnTo>
                    <a:pt x="4498" y="1254"/>
                  </a:lnTo>
                  <a:lnTo>
                    <a:pt x="4524" y="1304"/>
                  </a:lnTo>
                  <a:lnTo>
                    <a:pt x="4550" y="1356"/>
                  </a:lnTo>
                  <a:lnTo>
                    <a:pt x="4574" y="1408"/>
                  </a:lnTo>
                  <a:lnTo>
                    <a:pt x="4598" y="1462"/>
                  </a:lnTo>
                  <a:lnTo>
                    <a:pt x="4620" y="1516"/>
                  </a:lnTo>
                  <a:lnTo>
                    <a:pt x="4642" y="1570"/>
                  </a:lnTo>
                  <a:lnTo>
                    <a:pt x="4660" y="1626"/>
                  </a:lnTo>
                  <a:lnTo>
                    <a:pt x="4678" y="1682"/>
                  </a:lnTo>
                  <a:lnTo>
                    <a:pt x="4696" y="1738"/>
                  </a:lnTo>
                  <a:lnTo>
                    <a:pt x="4712" y="1796"/>
                  </a:lnTo>
                  <a:lnTo>
                    <a:pt x="4726" y="1854"/>
                  </a:lnTo>
                  <a:lnTo>
                    <a:pt x="4738" y="1912"/>
                  </a:lnTo>
                  <a:lnTo>
                    <a:pt x="4748" y="1970"/>
                  </a:lnTo>
                  <a:lnTo>
                    <a:pt x="4758" y="2030"/>
                  </a:lnTo>
                  <a:lnTo>
                    <a:pt x="4768" y="2088"/>
                  </a:lnTo>
                  <a:lnTo>
                    <a:pt x="4774" y="2148"/>
                  </a:lnTo>
                  <a:lnTo>
                    <a:pt x="4780" y="2210"/>
                  </a:lnTo>
                  <a:lnTo>
                    <a:pt x="4784" y="2270"/>
                  </a:lnTo>
                  <a:lnTo>
                    <a:pt x="4786" y="2332"/>
                  </a:lnTo>
                  <a:lnTo>
                    <a:pt x="4786" y="2394"/>
                  </a:lnTo>
                  <a:lnTo>
                    <a:pt x="4786" y="2394"/>
                  </a:lnTo>
                  <a:close/>
                </a:path>
              </a:pathLst>
            </a:custGeom>
            <a:solidFill>
              <a:schemeClr val="bg1">
                <a:lumMod val="75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9" name="Freeform 107">
              <a:extLst>
                <a:ext uri="{FF2B5EF4-FFF2-40B4-BE49-F238E27FC236}">
                  <a16:creationId xmlns:a16="http://schemas.microsoft.com/office/drawing/2014/main" id="{580C3CE4-70DC-4339-9B7B-86EDA1E4FAB4}"/>
                </a:ext>
              </a:extLst>
            </p:cNvPr>
            <p:cNvSpPr>
              <a:spLocks noEditPoints="1"/>
            </p:cNvSpPr>
            <p:nvPr/>
          </p:nvSpPr>
          <p:spPr bwMode="auto">
            <a:xfrm>
              <a:off x="4545134" y="26380747"/>
              <a:ext cx="4194172" cy="3641724"/>
            </a:xfrm>
            <a:custGeom>
              <a:avLst/>
              <a:gdLst/>
              <a:ahLst/>
              <a:cxnLst>
                <a:cxn ang="0">
                  <a:pos x="1816" y="186"/>
                </a:cxn>
                <a:cxn ang="0">
                  <a:pos x="1782" y="92"/>
                </a:cxn>
                <a:cxn ang="0">
                  <a:pos x="1708" y="24"/>
                </a:cxn>
                <a:cxn ang="0">
                  <a:pos x="1608" y="0"/>
                </a:cxn>
                <a:cxn ang="0">
                  <a:pos x="970" y="10"/>
                </a:cxn>
                <a:cxn ang="0">
                  <a:pos x="886" y="60"/>
                </a:cxn>
                <a:cxn ang="0">
                  <a:pos x="834" y="146"/>
                </a:cxn>
                <a:cxn ang="0">
                  <a:pos x="224" y="402"/>
                </a:cxn>
                <a:cxn ang="0">
                  <a:pos x="138" y="420"/>
                </a:cxn>
                <a:cxn ang="0">
                  <a:pos x="52" y="482"/>
                </a:cxn>
                <a:cxn ang="0">
                  <a:pos x="6" y="580"/>
                </a:cxn>
                <a:cxn ang="0">
                  <a:pos x="2" y="2094"/>
                </a:cxn>
                <a:cxn ang="0">
                  <a:pos x="38" y="2196"/>
                </a:cxn>
                <a:cxn ang="0">
                  <a:pos x="118" y="2268"/>
                </a:cxn>
                <a:cxn ang="0">
                  <a:pos x="224" y="2294"/>
                </a:cxn>
                <a:cxn ang="0">
                  <a:pos x="2484" y="2284"/>
                </a:cxn>
                <a:cxn ang="0">
                  <a:pos x="2576" y="2230"/>
                </a:cxn>
                <a:cxn ang="0">
                  <a:pos x="2630" y="2138"/>
                </a:cxn>
                <a:cxn ang="0">
                  <a:pos x="2642" y="626"/>
                </a:cxn>
                <a:cxn ang="0">
                  <a:pos x="2614" y="518"/>
                </a:cxn>
                <a:cxn ang="0">
                  <a:pos x="2542" y="440"/>
                </a:cxn>
                <a:cxn ang="0">
                  <a:pos x="2440" y="402"/>
                </a:cxn>
                <a:cxn ang="0">
                  <a:pos x="1004" y="202"/>
                </a:cxn>
                <a:cxn ang="0">
                  <a:pos x="1032" y="178"/>
                </a:cxn>
                <a:cxn ang="0">
                  <a:pos x="1630" y="188"/>
                </a:cxn>
                <a:cxn ang="0">
                  <a:pos x="1004" y="402"/>
                </a:cxn>
                <a:cxn ang="0">
                  <a:pos x="1256" y="1984"/>
                </a:cxn>
                <a:cxn ang="0">
                  <a:pos x="1102" y="1948"/>
                </a:cxn>
                <a:cxn ang="0">
                  <a:pos x="964" y="1878"/>
                </a:cxn>
                <a:cxn ang="0">
                  <a:pos x="848" y="1778"/>
                </a:cxn>
                <a:cxn ang="0">
                  <a:pos x="760" y="1652"/>
                </a:cxn>
                <a:cxn ang="0">
                  <a:pos x="702" y="1508"/>
                </a:cxn>
                <a:cxn ang="0">
                  <a:pos x="682" y="1348"/>
                </a:cxn>
                <a:cxn ang="0">
                  <a:pos x="696" y="1220"/>
                </a:cxn>
                <a:cxn ang="0">
                  <a:pos x="746" y="1072"/>
                </a:cxn>
                <a:cxn ang="0">
                  <a:pos x="828" y="942"/>
                </a:cxn>
                <a:cxn ang="0">
                  <a:pos x="938" y="836"/>
                </a:cxn>
                <a:cxn ang="0">
                  <a:pos x="1072" y="760"/>
                </a:cxn>
                <a:cxn ang="0">
                  <a:pos x="1224" y="716"/>
                </a:cxn>
                <a:cxn ang="0">
                  <a:pos x="1354" y="710"/>
                </a:cxn>
                <a:cxn ang="0">
                  <a:pos x="1510" y="738"/>
                </a:cxn>
                <a:cxn ang="0">
                  <a:pos x="1652" y="802"/>
                </a:cxn>
                <a:cxn ang="0">
                  <a:pos x="1772" y="896"/>
                </a:cxn>
                <a:cxn ang="0">
                  <a:pos x="1866" y="1018"/>
                </a:cxn>
                <a:cxn ang="0">
                  <a:pos x="1930" y="1158"/>
                </a:cxn>
                <a:cxn ang="0">
                  <a:pos x="1958" y="1316"/>
                </a:cxn>
                <a:cxn ang="0">
                  <a:pos x="1952" y="1446"/>
                </a:cxn>
                <a:cxn ang="0">
                  <a:pos x="1910" y="1596"/>
                </a:cxn>
                <a:cxn ang="0">
                  <a:pos x="1832" y="1730"/>
                </a:cxn>
                <a:cxn ang="0">
                  <a:pos x="1726" y="1840"/>
                </a:cxn>
                <a:cxn ang="0">
                  <a:pos x="1598" y="1924"/>
                </a:cxn>
                <a:cxn ang="0">
                  <a:pos x="1450" y="1974"/>
                </a:cxn>
                <a:cxn ang="0">
                  <a:pos x="1320" y="1986"/>
                </a:cxn>
              </a:cxnLst>
              <a:rect l="0" t="0" r="r" b="b"/>
              <a:pathLst>
                <a:path w="2642" h="2294">
                  <a:moveTo>
                    <a:pt x="2418" y="402"/>
                  </a:moveTo>
                  <a:lnTo>
                    <a:pt x="1818" y="402"/>
                  </a:lnTo>
                  <a:lnTo>
                    <a:pt x="1818" y="208"/>
                  </a:lnTo>
                  <a:lnTo>
                    <a:pt x="1818" y="208"/>
                  </a:lnTo>
                  <a:lnTo>
                    <a:pt x="1816" y="186"/>
                  </a:lnTo>
                  <a:lnTo>
                    <a:pt x="1814" y="166"/>
                  </a:lnTo>
                  <a:lnTo>
                    <a:pt x="1808" y="146"/>
                  </a:lnTo>
                  <a:lnTo>
                    <a:pt x="1802" y="128"/>
                  </a:lnTo>
                  <a:lnTo>
                    <a:pt x="1792" y="108"/>
                  </a:lnTo>
                  <a:lnTo>
                    <a:pt x="1782" y="92"/>
                  </a:lnTo>
                  <a:lnTo>
                    <a:pt x="1770" y="76"/>
                  </a:lnTo>
                  <a:lnTo>
                    <a:pt x="1756" y="60"/>
                  </a:lnTo>
                  <a:lnTo>
                    <a:pt x="1742" y="48"/>
                  </a:lnTo>
                  <a:lnTo>
                    <a:pt x="1726" y="36"/>
                  </a:lnTo>
                  <a:lnTo>
                    <a:pt x="1708" y="24"/>
                  </a:lnTo>
                  <a:lnTo>
                    <a:pt x="1690" y="16"/>
                  </a:lnTo>
                  <a:lnTo>
                    <a:pt x="1670" y="10"/>
                  </a:lnTo>
                  <a:lnTo>
                    <a:pt x="1650" y="4"/>
                  </a:lnTo>
                  <a:lnTo>
                    <a:pt x="1630" y="0"/>
                  </a:lnTo>
                  <a:lnTo>
                    <a:pt x="1608" y="0"/>
                  </a:lnTo>
                  <a:lnTo>
                    <a:pt x="1032" y="0"/>
                  </a:lnTo>
                  <a:lnTo>
                    <a:pt x="1032" y="0"/>
                  </a:lnTo>
                  <a:lnTo>
                    <a:pt x="1012" y="0"/>
                  </a:lnTo>
                  <a:lnTo>
                    <a:pt x="990" y="4"/>
                  </a:lnTo>
                  <a:lnTo>
                    <a:pt x="970" y="10"/>
                  </a:lnTo>
                  <a:lnTo>
                    <a:pt x="952" y="16"/>
                  </a:lnTo>
                  <a:lnTo>
                    <a:pt x="934" y="24"/>
                  </a:lnTo>
                  <a:lnTo>
                    <a:pt x="916" y="36"/>
                  </a:lnTo>
                  <a:lnTo>
                    <a:pt x="900" y="48"/>
                  </a:lnTo>
                  <a:lnTo>
                    <a:pt x="886" y="60"/>
                  </a:lnTo>
                  <a:lnTo>
                    <a:pt x="872" y="76"/>
                  </a:lnTo>
                  <a:lnTo>
                    <a:pt x="860" y="92"/>
                  </a:lnTo>
                  <a:lnTo>
                    <a:pt x="850" y="108"/>
                  </a:lnTo>
                  <a:lnTo>
                    <a:pt x="840" y="128"/>
                  </a:lnTo>
                  <a:lnTo>
                    <a:pt x="834" y="146"/>
                  </a:lnTo>
                  <a:lnTo>
                    <a:pt x="828" y="166"/>
                  </a:lnTo>
                  <a:lnTo>
                    <a:pt x="826" y="186"/>
                  </a:lnTo>
                  <a:lnTo>
                    <a:pt x="824" y="208"/>
                  </a:lnTo>
                  <a:lnTo>
                    <a:pt x="824" y="402"/>
                  </a:lnTo>
                  <a:lnTo>
                    <a:pt x="224" y="402"/>
                  </a:lnTo>
                  <a:lnTo>
                    <a:pt x="224" y="402"/>
                  </a:lnTo>
                  <a:lnTo>
                    <a:pt x="202" y="402"/>
                  </a:lnTo>
                  <a:lnTo>
                    <a:pt x="180" y="406"/>
                  </a:lnTo>
                  <a:lnTo>
                    <a:pt x="158" y="412"/>
                  </a:lnTo>
                  <a:lnTo>
                    <a:pt x="138" y="420"/>
                  </a:lnTo>
                  <a:lnTo>
                    <a:pt x="118" y="428"/>
                  </a:lnTo>
                  <a:lnTo>
                    <a:pt x="100" y="440"/>
                  </a:lnTo>
                  <a:lnTo>
                    <a:pt x="82" y="452"/>
                  </a:lnTo>
                  <a:lnTo>
                    <a:pt x="66" y="468"/>
                  </a:lnTo>
                  <a:lnTo>
                    <a:pt x="52" y="482"/>
                  </a:lnTo>
                  <a:lnTo>
                    <a:pt x="38" y="500"/>
                  </a:lnTo>
                  <a:lnTo>
                    <a:pt x="28" y="518"/>
                  </a:lnTo>
                  <a:lnTo>
                    <a:pt x="18" y="538"/>
                  </a:lnTo>
                  <a:lnTo>
                    <a:pt x="10" y="558"/>
                  </a:lnTo>
                  <a:lnTo>
                    <a:pt x="6" y="580"/>
                  </a:lnTo>
                  <a:lnTo>
                    <a:pt x="2" y="602"/>
                  </a:lnTo>
                  <a:lnTo>
                    <a:pt x="0" y="626"/>
                  </a:lnTo>
                  <a:lnTo>
                    <a:pt x="0" y="2070"/>
                  </a:lnTo>
                  <a:lnTo>
                    <a:pt x="0" y="2070"/>
                  </a:lnTo>
                  <a:lnTo>
                    <a:pt x="2" y="2094"/>
                  </a:lnTo>
                  <a:lnTo>
                    <a:pt x="6" y="2116"/>
                  </a:lnTo>
                  <a:lnTo>
                    <a:pt x="10" y="2138"/>
                  </a:lnTo>
                  <a:lnTo>
                    <a:pt x="18" y="2158"/>
                  </a:lnTo>
                  <a:lnTo>
                    <a:pt x="28" y="2178"/>
                  </a:lnTo>
                  <a:lnTo>
                    <a:pt x="38" y="2196"/>
                  </a:lnTo>
                  <a:lnTo>
                    <a:pt x="52" y="2214"/>
                  </a:lnTo>
                  <a:lnTo>
                    <a:pt x="66" y="2230"/>
                  </a:lnTo>
                  <a:lnTo>
                    <a:pt x="82" y="2244"/>
                  </a:lnTo>
                  <a:lnTo>
                    <a:pt x="100" y="2256"/>
                  </a:lnTo>
                  <a:lnTo>
                    <a:pt x="118" y="2268"/>
                  </a:lnTo>
                  <a:lnTo>
                    <a:pt x="138" y="2278"/>
                  </a:lnTo>
                  <a:lnTo>
                    <a:pt x="158" y="2284"/>
                  </a:lnTo>
                  <a:lnTo>
                    <a:pt x="180" y="2290"/>
                  </a:lnTo>
                  <a:lnTo>
                    <a:pt x="202" y="2294"/>
                  </a:lnTo>
                  <a:lnTo>
                    <a:pt x="224" y="2294"/>
                  </a:lnTo>
                  <a:lnTo>
                    <a:pt x="2418" y="2294"/>
                  </a:lnTo>
                  <a:lnTo>
                    <a:pt x="2418" y="2294"/>
                  </a:lnTo>
                  <a:lnTo>
                    <a:pt x="2440" y="2294"/>
                  </a:lnTo>
                  <a:lnTo>
                    <a:pt x="2462" y="2290"/>
                  </a:lnTo>
                  <a:lnTo>
                    <a:pt x="2484" y="2284"/>
                  </a:lnTo>
                  <a:lnTo>
                    <a:pt x="2504" y="2278"/>
                  </a:lnTo>
                  <a:lnTo>
                    <a:pt x="2524" y="2268"/>
                  </a:lnTo>
                  <a:lnTo>
                    <a:pt x="2542" y="2256"/>
                  </a:lnTo>
                  <a:lnTo>
                    <a:pt x="2560" y="2244"/>
                  </a:lnTo>
                  <a:lnTo>
                    <a:pt x="2576" y="2230"/>
                  </a:lnTo>
                  <a:lnTo>
                    <a:pt x="2590" y="2214"/>
                  </a:lnTo>
                  <a:lnTo>
                    <a:pt x="2602" y="2196"/>
                  </a:lnTo>
                  <a:lnTo>
                    <a:pt x="2614" y="2178"/>
                  </a:lnTo>
                  <a:lnTo>
                    <a:pt x="2624" y="2158"/>
                  </a:lnTo>
                  <a:lnTo>
                    <a:pt x="2630" y="2138"/>
                  </a:lnTo>
                  <a:lnTo>
                    <a:pt x="2636" y="2116"/>
                  </a:lnTo>
                  <a:lnTo>
                    <a:pt x="2640" y="2094"/>
                  </a:lnTo>
                  <a:lnTo>
                    <a:pt x="2642" y="2070"/>
                  </a:lnTo>
                  <a:lnTo>
                    <a:pt x="2642" y="626"/>
                  </a:lnTo>
                  <a:lnTo>
                    <a:pt x="2642" y="626"/>
                  </a:lnTo>
                  <a:lnTo>
                    <a:pt x="2640" y="602"/>
                  </a:lnTo>
                  <a:lnTo>
                    <a:pt x="2636" y="580"/>
                  </a:lnTo>
                  <a:lnTo>
                    <a:pt x="2630" y="558"/>
                  </a:lnTo>
                  <a:lnTo>
                    <a:pt x="2624" y="538"/>
                  </a:lnTo>
                  <a:lnTo>
                    <a:pt x="2614" y="518"/>
                  </a:lnTo>
                  <a:lnTo>
                    <a:pt x="2602" y="500"/>
                  </a:lnTo>
                  <a:lnTo>
                    <a:pt x="2590" y="482"/>
                  </a:lnTo>
                  <a:lnTo>
                    <a:pt x="2576" y="468"/>
                  </a:lnTo>
                  <a:lnTo>
                    <a:pt x="2560" y="452"/>
                  </a:lnTo>
                  <a:lnTo>
                    <a:pt x="2542" y="440"/>
                  </a:lnTo>
                  <a:lnTo>
                    <a:pt x="2524" y="428"/>
                  </a:lnTo>
                  <a:lnTo>
                    <a:pt x="2504" y="420"/>
                  </a:lnTo>
                  <a:lnTo>
                    <a:pt x="2484" y="412"/>
                  </a:lnTo>
                  <a:lnTo>
                    <a:pt x="2462" y="406"/>
                  </a:lnTo>
                  <a:lnTo>
                    <a:pt x="2440" y="402"/>
                  </a:lnTo>
                  <a:lnTo>
                    <a:pt x="2418" y="402"/>
                  </a:lnTo>
                  <a:lnTo>
                    <a:pt x="2418" y="402"/>
                  </a:lnTo>
                  <a:close/>
                  <a:moveTo>
                    <a:pt x="1004" y="208"/>
                  </a:moveTo>
                  <a:lnTo>
                    <a:pt x="1004" y="208"/>
                  </a:lnTo>
                  <a:lnTo>
                    <a:pt x="1004" y="202"/>
                  </a:lnTo>
                  <a:lnTo>
                    <a:pt x="1006" y="196"/>
                  </a:lnTo>
                  <a:lnTo>
                    <a:pt x="1012" y="188"/>
                  </a:lnTo>
                  <a:lnTo>
                    <a:pt x="1022" y="182"/>
                  </a:lnTo>
                  <a:lnTo>
                    <a:pt x="1026" y="180"/>
                  </a:lnTo>
                  <a:lnTo>
                    <a:pt x="1032" y="178"/>
                  </a:lnTo>
                  <a:lnTo>
                    <a:pt x="1608" y="178"/>
                  </a:lnTo>
                  <a:lnTo>
                    <a:pt x="1608" y="178"/>
                  </a:lnTo>
                  <a:lnTo>
                    <a:pt x="1614" y="180"/>
                  </a:lnTo>
                  <a:lnTo>
                    <a:pt x="1620" y="182"/>
                  </a:lnTo>
                  <a:lnTo>
                    <a:pt x="1630" y="188"/>
                  </a:lnTo>
                  <a:lnTo>
                    <a:pt x="1636" y="196"/>
                  </a:lnTo>
                  <a:lnTo>
                    <a:pt x="1638" y="202"/>
                  </a:lnTo>
                  <a:lnTo>
                    <a:pt x="1638" y="208"/>
                  </a:lnTo>
                  <a:lnTo>
                    <a:pt x="1638" y="402"/>
                  </a:lnTo>
                  <a:lnTo>
                    <a:pt x="1004" y="402"/>
                  </a:lnTo>
                  <a:lnTo>
                    <a:pt x="1004" y="208"/>
                  </a:lnTo>
                  <a:close/>
                  <a:moveTo>
                    <a:pt x="1320" y="1986"/>
                  </a:moveTo>
                  <a:lnTo>
                    <a:pt x="1320" y="1986"/>
                  </a:lnTo>
                  <a:lnTo>
                    <a:pt x="1288" y="1986"/>
                  </a:lnTo>
                  <a:lnTo>
                    <a:pt x="1256" y="1984"/>
                  </a:lnTo>
                  <a:lnTo>
                    <a:pt x="1224" y="1980"/>
                  </a:lnTo>
                  <a:lnTo>
                    <a:pt x="1192" y="1974"/>
                  </a:lnTo>
                  <a:lnTo>
                    <a:pt x="1162" y="1966"/>
                  </a:lnTo>
                  <a:lnTo>
                    <a:pt x="1130" y="1958"/>
                  </a:lnTo>
                  <a:lnTo>
                    <a:pt x="1102" y="1948"/>
                  </a:lnTo>
                  <a:lnTo>
                    <a:pt x="1072" y="1936"/>
                  </a:lnTo>
                  <a:lnTo>
                    <a:pt x="1044" y="1924"/>
                  </a:lnTo>
                  <a:lnTo>
                    <a:pt x="1016" y="1910"/>
                  </a:lnTo>
                  <a:lnTo>
                    <a:pt x="990" y="1894"/>
                  </a:lnTo>
                  <a:lnTo>
                    <a:pt x="964" y="1878"/>
                  </a:lnTo>
                  <a:lnTo>
                    <a:pt x="938" y="1860"/>
                  </a:lnTo>
                  <a:lnTo>
                    <a:pt x="914" y="1840"/>
                  </a:lnTo>
                  <a:lnTo>
                    <a:pt x="892" y="1820"/>
                  </a:lnTo>
                  <a:lnTo>
                    <a:pt x="870" y="1800"/>
                  </a:lnTo>
                  <a:lnTo>
                    <a:pt x="848" y="1778"/>
                  </a:lnTo>
                  <a:lnTo>
                    <a:pt x="828" y="1754"/>
                  </a:lnTo>
                  <a:lnTo>
                    <a:pt x="810" y="1730"/>
                  </a:lnTo>
                  <a:lnTo>
                    <a:pt x="792" y="1706"/>
                  </a:lnTo>
                  <a:lnTo>
                    <a:pt x="774" y="1680"/>
                  </a:lnTo>
                  <a:lnTo>
                    <a:pt x="760" y="1652"/>
                  </a:lnTo>
                  <a:lnTo>
                    <a:pt x="746" y="1624"/>
                  </a:lnTo>
                  <a:lnTo>
                    <a:pt x="732" y="1596"/>
                  </a:lnTo>
                  <a:lnTo>
                    <a:pt x="722" y="1568"/>
                  </a:lnTo>
                  <a:lnTo>
                    <a:pt x="712" y="1538"/>
                  </a:lnTo>
                  <a:lnTo>
                    <a:pt x="702" y="1508"/>
                  </a:lnTo>
                  <a:lnTo>
                    <a:pt x="696" y="1476"/>
                  </a:lnTo>
                  <a:lnTo>
                    <a:pt x="690" y="1446"/>
                  </a:lnTo>
                  <a:lnTo>
                    <a:pt x="686" y="1414"/>
                  </a:lnTo>
                  <a:lnTo>
                    <a:pt x="684" y="1380"/>
                  </a:lnTo>
                  <a:lnTo>
                    <a:pt x="682" y="1348"/>
                  </a:lnTo>
                  <a:lnTo>
                    <a:pt x="682" y="1348"/>
                  </a:lnTo>
                  <a:lnTo>
                    <a:pt x="684" y="1316"/>
                  </a:lnTo>
                  <a:lnTo>
                    <a:pt x="686" y="1282"/>
                  </a:lnTo>
                  <a:lnTo>
                    <a:pt x="690" y="1250"/>
                  </a:lnTo>
                  <a:lnTo>
                    <a:pt x="696" y="1220"/>
                  </a:lnTo>
                  <a:lnTo>
                    <a:pt x="702" y="1188"/>
                  </a:lnTo>
                  <a:lnTo>
                    <a:pt x="712" y="1158"/>
                  </a:lnTo>
                  <a:lnTo>
                    <a:pt x="722" y="1128"/>
                  </a:lnTo>
                  <a:lnTo>
                    <a:pt x="732" y="1100"/>
                  </a:lnTo>
                  <a:lnTo>
                    <a:pt x="746" y="1072"/>
                  </a:lnTo>
                  <a:lnTo>
                    <a:pt x="760" y="1044"/>
                  </a:lnTo>
                  <a:lnTo>
                    <a:pt x="774" y="1018"/>
                  </a:lnTo>
                  <a:lnTo>
                    <a:pt x="792" y="992"/>
                  </a:lnTo>
                  <a:lnTo>
                    <a:pt x="810" y="966"/>
                  </a:lnTo>
                  <a:lnTo>
                    <a:pt x="828" y="942"/>
                  </a:lnTo>
                  <a:lnTo>
                    <a:pt x="848" y="918"/>
                  </a:lnTo>
                  <a:lnTo>
                    <a:pt x="870" y="896"/>
                  </a:lnTo>
                  <a:lnTo>
                    <a:pt x="892" y="876"/>
                  </a:lnTo>
                  <a:lnTo>
                    <a:pt x="914" y="856"/>
                  </a:lnTo>
                  <a:lnTo>
                    <a:pt x="938" y="836"/>
                  </a:lnTo>
                  <a:lnTo>
                    <a:pt x="964" y="818"/>
                  </a:lnTo>
                  <a:lnTo>
                    <a:pt x="990" y="802"/>
                  </a:lnTo>
                  <a:lnTo>
                    <a:pt x="1016" y="786"/>
                  </a:lnTo>
                  <a:lnTo>
                    <a:pt x="1044" y="772"/>
                  </a:lnTo>
                  <a:lnTo>
                    <a:pt x="1072" y="760"/>
                  </a:lnTo>
                  <a:lnTo>
                    <a:pt x="1102" y="748"/>
                  </a:lnTo>
                  <a:lnTo>
                    <a:pt x="1130" y="738"/>
                  </a:lnTo>
                  <a:lnTo>
                    <a:pt x="1162" y="730"/>
                  </a:lnTo>
                  <a:lnTo>
                    <a:pt x="1192" y="722"/>
                  </a:lnTo>
                  <a:lnTo>
                    <a:pt x="1224" y="716"/>
                  </a:lnTo>
                  <a:lnTo>
                    <a:pt x="1256" y="712"/>
                  </a:lnTo>
                  <a:lnTo>
                    <a:pt x="1288" y="710"/>
                  </a:lnTo>
                  <a:lnTo>
                    <a:pt x="1320" y="710"/>
                  </a:lnTo>
                  <a:lnTo>
                    <a:pt x="1320" y="710"/>
                  </a:lnTo>
                  <a:lnTo>
                    <a:pt x="1354" y="710"/>
                  </a:lnTo>
                  <a:lnTo>
                    <a:pt x="1386" y="712"/>
                  </a:lnTo>
                  <a:lnTo>
                    <a:pt x="1418" y="716"/>
                  </a:lnTo>
                  <a:lnTo>
                    <a:pt x="1450" y="722"/>
                  </a:lnTo>
                  <a:lnTo>
                    <a:pt x="1480" y="730"/>
                  </a:lnTo>
                  <a:lnTo>
                    <a:pt x="1510" y="738"/>
                  </a:lnTo>
                  <a:lnTo>
                    <a:pt x="1540" y="748"/>
                  </a:lnTo>
                  <a:lnTo>
                    <a:pt x="1570" y="760"/>
                  </a:lnTo>
                  <a:lnTo>
                    <a:pt x="1598" y="772"/>
                  </a:lnTo>
                  <a:lnTo>
                    <a:pt x="1626" y="786"/>
                  </a:lnTo>
                  <a:lnTo>
                    <a:pt x="1652" y="802"/>
                  </a:lnTo>
                  <a:lnTo>
                    <a:pt x="1678" y="818"/>
                  </a:lnTo>
                  <a:lnTo>
                    <a:pt x="1702" y="836"/>
                  </a:lnTo>
                  <a:lnTo>
                    <a:pt x="1726" y="856"/>
                  </a:lnTo>
                  <a:lnTo>
                    <a:pt x="1750" y="876"/>
                  </a:lnTo>
                  <a:lnTo>
                    <a:pt x="1772" y="896"/>
                  </a:lnTo>
                  <a:lnTo>
                    <a:pt x="1794" y="918"/>
                  </a:lnTo>
                  <a:lnTo>
                    <a:pt x="1814" y="942"/>
                  </a:lnTo>
                  <a:lnTo>
                    <a:pt x="1832" y="966"/>
                  </a:lnTo>
                  <a:lnTo>
                    <a:pt x="1850" y="992"/>
                  </a:lnTo>
                  <a:lnTo>
                    <a:pt x="1866" y="1018"/>
                  </a:lnTo>
                  <a:lnTo>
                    <a:pt x="1882" y="1044"/>
                  </a:lnTo>
                  <a:lnTo>
                    <a:pt x="1896" y="1072"/>
                  </a:lnTo>
                  <a:lnTo>
                    <a:pt x="1910" y="1100"/>
                  </a:lnTo>
                  <a:lnTo>
                    <a:pt x="1920" y="1128"/>
                  </a:lnTo>
                  <a:lnTo>
                    <a:pt x="1930" y="1158"/>
                  </a:lnTo>
                  <a:lnTo>
                    <a:pt x="1940" y="1188"/>
                  </a:lnTo>
                  <a:lnTo>
                    <a:pt x="1946" y="1220"/>
                  </a:lnTo>
                  <a:lnTo>
                    <a:pt x="1952" y="1250"/>
                  </a:lnTo>
                  <a:lnTo>
                    <a:pt x="1956" y="1282"/>
                  </a:lnTo>
                  <a:lnTo>
                    <a:pt x="1958" y="1316"/>
                  </a:lnTo>
                  <a:lnTo>
                    <a:pt x="1960" y="1348"/>
                  </a:lnTo>
                  <a:lnTo>
                    <a:pt x="1960" y="1348"/>
                  </a:lnTo>
                  <a:lnTo>
                    <a:pt x="1958" y="1380"/>
                  </a:lnTo>
                  <a:lnTo>
                    <a:pt x="1956" y="1414"/>
                  </a:lnTo>
                  <a:lnTo>
                    <a:pt x="1952" y="1446"/>
                  </a:lnTo>
                  <a:lnTo>
                    <a:pt x="1946" y="1476"/>
                  </a:lnTo>
                  <a:lnTo>
                    <a:pt x="1940" y="1508"/>
                  </a:lnTo>
                  <a:lnTo>
                    <a:pt x="1930" y="1538"/>
                  </a:lnTo>
                  <a:lnTo>
                    <a:pt x="1920" y="1568"/>
                  </a:lnTo>
                  <a:lnTo>
                    <a:pt x="1910" y="1596"/>
                  </a:lnTo>
                  <a:lnTo>
                    <a:pt x="1896" y="1624"/>
                  </a:lnTo>
                  <a:lnTo>
                    <a:pt x="1882" y="1652"/>
                  </a:lnTo>
                  <a:lnTo>
                    <a:pt x="1866" y="1680"/>
                  </a:lnTo>
                  <a:lnTo>
                    <a:pt x="1850" y="1706"/>
                  </a:lnTo>
                  <a:lnTo>
                    <a:pt x="1832" y="1730"/>
                  </a:lnTo>
                  <a:lnTo>
                    <a:pt x="1814" y="1754"/>
                  </a:lnTo>
                  <a:lnTo>
                    <a:pt x="1794" y="1778"/>
                  </a:lnTo>
                  <a:lnTo>
                    <a:pt x="1772" y="1800"/>
                  </a:lnTo>
                  <a:lnTo>
                    <a:pt x="1750" y="1820"/>
                  </a:lnTo>
                  <a:lnTo>
                    <a:pt x="1726" y="1840"/>
                  </a:lnTo>
                  <a:lnTo>
                    <a:pt x="1702" y="1860"/>
                  </a:lnTo>
                  <a:lnTo>
                    <a:pt x="1678" y="1878"/>
                  </a:lnTo>
                  <a:lnTo>
                    <a:pt x="1652" y="1894"/>
                  </a:lnTo>
                  <a:lnTo>
                    <a:pt x="1626" y="1910"/>
                  </a:lnTo>
                  <a:lnTo>
                    <a:pt x="1598" y="1924"/>
                  </a:lnTo>
                  <a:lnTo>
                    <a:pt x="1570" y="1936"/>
                  </a:lnTo>
                  <a:lnTo>
                    <a:pt x="1540" y="1948"/>
                  </a:lnTo>
                  <a:lnTo>
                    <a:pt x="1510" y="1958"/>
                  </a:lnTo>
                  <a:lnTo>
                    <a:pt x="1480" y="1966"/>
                  </a:lnTo>
                  <a:lnTo>
                    <a:pt x="1450" y="1974"/>
                  </a:lnTo>
                  <a:lnTo>
                    <a:pt x="1418" y="1980"/>
                  </a:lnTo>
                  <a:lnTo>
                    <a:pt x="1386" y="1984"/>
                  </a:lnTo>
                  <a:lnTo>
                    <a:pt x="1354" y="1986"/>
                  </a:lnTo>
                  <a:lnTo>
                    <a:pt x="1320" y="1986"/>
                  </a:lnTo>
                  <a:lnTo>
                    <a:pt x="1320" y="1986"/>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0" name="Freeform 108">
              <a:extLst>
                <a:ext uri="{FF2B5EF4-FFF2-40B4-BE49-F238E27FC236}">
                  <a16:creationId xmlns:a16="http://schemas.microsoft.com/office/drawing/2014/main" id="{F28F38C1-09BB-4914-97F5-4FC1C0468DCA}"/>
                </a:ext>
              </a:extLst>
            </p:cNvPr>
            <p:cNvSpPr>
              <a:spLocks/>
            </p:cNvSpPr>
            <p:nvPr/>
          </p:nvSpPr>
          <p:spPr bwMode="auto">
            <a:xfrm>
              <a:off x="6053138" y="27795538"/>
              <a:ext cx="1435100" cy="1435100"/>
            </a:xfrm>
            <a:custGeom>
              <a:avLst/>
              <a:gdLst/>
              <a:ahLst/>
              <a:cxnLst>
                <a:cxn ang="0">
                  <a:pos x="612" y="0"/>
                </a:cxn>
                <a:cxn ang="0">
                  <a:pos x="294" y="0"/>
                </a:cxn>
                <a:cxn ang="0">
                  <a:pos x="294" y="294"/>
                </a:cxn>
                <a:cxn ang="0">
                  <a:pos x="0" y="294"/>
                </a:cxn>
                <a:cxn ang="0">
                  <a:pos x="0" y="610"/>
                </a:cxn>
                <a:cxn ang="0">
                  <a:pos x="294" y="610"/>
                </a:cxn>
                <a:cxn ang="0">
                  <a:pos x="294" y="904"/>
                </a:cxn>
                <a:cxn ang="0">
                  <a:pos x="612" y="904"/>
                </a:cxn>
                <a:cxn ang="0">
                  <a:pos x="612" y="610"/>
                </a:cxn>
                <a:cxn ang="0">
                  <a:pos x="904" y="610"/>
                </a:cxn>
                <a:cxn ang="0">
                  <a:pos x="904" y="294"/>
                </a:cxn>
                <a:cxn ang="0">
                  <a:pos x="612" y="294"/>
                </a:cxn>
                <a:cxn ang="0">
                  <a:pos x="612" y="0"/>
                </a:cxn>
              </a:cxnLst>
              <a:rect l="0" t="0" r="r" b="b"/>
              <a:pathLst>
                <a:path w="904" h="904">
                  <a:moveTo>
                    <a:pt x="612" y="0"/>
                  </a:moveTo>
                  <a:lnTo>
                    <a:pt x="294" y="0"/>
                  </a:lnTo>
                  <a:lnTo>
                    <a:pt x="294" y="294"/>
                  </a:lnTo>
                  <a:lnTo>
                    <a:pt x="0" y="294"/>
                  </a:lnTo>
                  <a:lnTo>
                    <a:pt x="0" y="610"/>
                  </a:lnTo>
                  <a:lnTo>
                    <a:pt x="294" y="610"/>
                  </a:lnTo>
                  <a:lnTo>
                    <a:pt x="294" y="904"/>
                  </a:lnTo>
                  <a:lnTo>
                    <a:pt x="612" y="904"/>
                  </a:lnTo>
                  <a:lnTo>
                    <a:pt x="612" y="610"/>
                  </a:lnTo>
                  <a:lnTo>
                    <a:pt x="904" y="610"/>
                  </a:lnTo>
                  <a:lnTo>
                    <a:pt x="904" y="294"/>
                  </a:lnTo>
                  <a:lnTo>
                    <a:pt x="612" y="294"/>
                  </a:lnTo>
                  <a:lnTo>
                    <a:pt x="612" y="0"/>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7542694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91s2wmrLno._6pCV7LnEi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MdtSejGNFskfoszYHdwBw"/>
</p:tagLst>
</file>

<file path=ppt/theme/theme1.xml><?xml version="1.0" encoding="utf-8"?>
<a:theme xmlns:a="http://schemas.openxmlformats.org/drawingml/2006/main" name="Takeda Slide Master">
  <a:themeElements>
    <a:clrScheme name="Takeda 2021">
      <a:dk1>
        <a:srgbClr val="34373F"/>
      </a:dk1>
      <a:lt1>
        <a:srgbClr val="FFFFFF"/>
      </a:lt1>
      <a:dk2>
        <a:srgbClr val="34373F"/>
      </a:dk2>
      <a:lt2>
        <a:srgbClr val="FFFFFF"/>
      </a:lt2>
      <a:accent1>
        <a:srgbClr val="E1242A"/>
      </a:accent1>
      <a:accent2>
        <a:srgbClr val="891515"/>
      </a:accent2>
      <a:accent3>
        <a:srgbClr val="34373F"/>
      </a:accent3>
      <a:accent4>
        <a:srgbClr val="A1A4AC"/>
      </a:accent4>
      <a:accent5>
        <a:srgbClr val="EDF2F4"/>
      </a:accent5>
      <a:accent6>
        <a:srgbClr val="FFFFFF"/>
      </a:accent6>
      <a:hlink>
        <a:srgbClr val="34373F"/>
      </a:hlink>
      <a:folHlink>
        <a:srgbClr val="34373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28575">
          <a:noFill/>
        </a:ln>
      </a:spPr>
      <a:bodyPr wrap="none" rtlCol="0" anchor="ctr"/>
      <a:lstStyle>
        <a:defPPr algn="ctr">
          <a:defRPr kumimoji="1" dirty="0"/>
        </a:defPPr>
      </a:lstStyle>
      <a:style>
        <a:lnRef idx="1">
          <a:schemeClr val="accent1"/>
        </a:lnRef>
        <a:fillRef idx="0">
          <a:schemeClr val="accent1"/>
        </a:fillRef>
        <a:effectRef idx="0">
          <a:schemeClr val="accent1"/>
        </a:effectRef>
        <a:fontRef idx="minor">
          <a:schemeClr val="tx1"/>
        </a:fontRef>
      </a:style>
    </a:spDef>
  </a:objectDefaults>
  <a:extraClrSchemeLst/>
  <a:extLst>
    <a:ext uri="{05A4C25C-085E-4340-85A3-A5531E510DB2}">
      <thm15:themeFamily xmlns:thm15="http://schemas.microsoft.com/office/thememl/2012/main" name="Takeda_Slide_Template_EN_v2021.pptx  -  Read-Only" id="{4D7F2B62-39F3-45C2-87FE-0ED37DE4A081}" vid="{51788A9A-1DEA-4E9D-BCB3-CA5139AC34B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E788AB4271D2F4B82540158621652FA" ma:contentTypeVersion="13" ma:contentTypeDescription="Create a new document." ma:contentTypeScope="" ma:versionID="841054a330d1441e23e9b56358b486a2">
  <xsd:schema xmlns:xsd="http://www.w3.org/2001/XMLSchema" xmlns:xs="http://www.w3.org/2001/XMLSchema" xmlns:p="http://schemas.microsoft.com/office/2006/metadata/properties" xmlns:ns3="c35d9128-0199-448a-8954-7c37adaffeb5" xmlns:ns4="a6f08481-6c03-4d4f-8c55-15386435109c" targetNamespace="http://schemas.microsoft.com/office/2006/metadata/properties" ma:root="true" ma:fieldsID="2d0b0b793b54908d3c23faa78937d367" ns3:_="" ns4:_="">
    <xsd:import namespace="c35d9128-0199-448a-8954-7c37adaffeb5"/>
    <xsd:import namespace="a6f08481-6c03-4d4f-8c55-15386435109c"/>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AutoKeyPoints" minOccurs="0"/>
                <xsd:element ref="ns3:MediaServiceKeyPoints" minOccurs="0"/>
                <xsd:element ref="ns3:MediaServiceGenerationTime" minOccurs="0"/>
                <xsd:element ref="ns3:MediaServiceEventHashCod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5d9128-0199-448a-8954-7c37adaffeb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6f08481-6c03-4d4f-8c55-15386435109c"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CC3BB52-6112-4A90-B1AF-BB2849B50567}">
  <ds:schemaRefs>
    <ds:schemaRef ds:uri="http://schemas.microsoft.com/sharepoint/v3/contenttype/forms"/>
  </ds:schemaRefs>
</ds:datastoreItem>
</file>

<file path=customXml/itemProps2.xml><?xml version="1.0" encoding="utf-8"?>
<ds:datastoreItem xmlns:ds="http://schemas.openxmlformats.org/officeDocument/2006/customXml" ds:itemID="{8C19292C-02CA-454B-826A-C373CCBD4BE5}">
  <ds:schemaRefs>
    <ds:schemaRef ds:uri="a6f08481-6c03-4d4f-8c55-15386435109c"/>
    <ds:schemaRef ds:uri="c35d9128-0199-448a-8954-7c37adaffeb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2064AA88-9994-4773-9B46-6F25641ADC01}">
  <ds:schemaRefs>
    <ds:schemaRef ds:uri="a6f08481-6c03-4d4f-8c55-15386435109c"/>
    <ds:schemaRef ds:uri="c35d9128-0199-448a-8954-7c37adaffeb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148</Words>
  <Application>Microsoft Office PowerPoint</Application>
  <PresentationFormat>宽屏</PresentationFormat>
  <Paragraphs>228</Paragraphs>
  <Slides>9</Slides>
  <Notes>9</Notes>
  <HiddenSlides>0</HiddenSlides>
  <MMClips>0</MMClips>
  <ScaleCrop>false</ScaleCrop>
  <HeadingPairs>
    <vt:vector size="8" baseType="variant">
      <vt:variant>
        <vt:lpstr>已用的字体</vt:lpstr>
      </vt:variant>
      <vt:variant>
        <vt:i4>4</vt:i4>
      </vt:variant>
      <vt:variant>
        <vt:lpstr>主题</vt:lpstr>
      </vt:variant>
      <vt:variant>
        <vt:i4>1</vt:i4>
      </vt:variant>
      <vt:variant>
        <vt:lpstr>嵌入 OLE 服务器</vt:lpstr>
      </vt:variant>
      <vt:variant>
        <vt:i4>1</vt:i4>
      </vt:variant>
      <vt:variant>
        <vt:lpstr>幻灯片标题</vt:lpstr>
      </vt:variant>
      <vt:variant>
        <vt:i4>9</vt:i4>
      </vt:variant>
    </vt:vector>
  </HeadingPairs>
  <TitlesOfParts>
    <vt:vector size="15" baseType="lpstr">
      <vt:lpstr>Microsoft yahei</vt:lpstr>
      <vt:lpstr>Microsoft yahei</vt:lpstr>
      <vt:lpstr>Arial</vt:lpstr>
      <vt:lpstr>Calibri</vt:lpstr>
      <vt:lpstr>Takeda Slide Master</vt:lpstr>
      <vt:lpstr>think-cell 幻灯片</vt:lpstr>
      <vt:lpstr>拉那利尤单抗注射液 （达泽优）</vt:lpstr>
      <vt:lpstr>目录</vt:lpstr>
      <vt:lpstr>药品基本信息</vt:lpstr>
      <vt:lpstr>药品基本信息</vt:lpstr>
      <vt:lpstr>安全性</vt:lpstr>
      <vt:lpstr>有效性</vt:lpstr>
      <vt:lpstr>有效性</vt:lpstr>
      <vt:lpstr>创新性</vt:lpstr>
      <vt:lpstr>公平性</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akeda  PowerPoint Template</dc:title>
  <dc:subject/>
  <dc:creator>Jiang, Abi</dc:creator>
  <cp:keywords/>
  <dc:description/>
  <cp:lastModifiedBy>Jiang, Abi</cp:lastModifiedBy>
  <cp:revision>3</cp:revision>
  <dcterms:created xsi:type="dcterms:W3CDTF">2021-09-13T09:25:45Z</dcterms:created>
  <dcterms:modified xsi:type="dcterms:W3CDTF">2022-07-14T02:35:35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788AB4271D2F4B82540158621652FA</vt:lpwstr>
  </property>
</Properties>
</file>